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66" r:id="rId6"/>
    <p:sldMasterId id="2147483669" r:id="rId7"/>
    <p:sldMasterId id="2147483671" r:id="rId8"/>
    <p:sldMasterId id="2147483681" r:id="rId9"/>
    <p:sldMasterId id="2147483685" r:id="rId10"/>
  </p:sldMasterIdLst>
  <p:notesMasterIdLst>
    <p:notesMasterId r:id="rId22"/>
  </p:notesMasterIdLst>
  <p:sldIdLst>
    <p:sldId id="1095" r:id="rId11"/>
    <p:sldId id="2147374767" r:id="rId12"/>
    <p:sldId id="2147481127" r:id="rId13"/>
    <p:sldId id="2147374775" r:id="rId14"/>
    <p:sldId id="2147481126" r:id="rId15"/>
    <p:sldId id="2147476041" r:id="rId16"/>
    <p:sldId id="2147481124" r:id="rId17"/>
    <p:sldId id="2147481128" r:id="rId18"/>
    <p:sldId id="2147481129" r:id="rId19"/>
    <p:sldId id="2147481130" r:id="rId20"/>
    <p:sldId id="2147374754" r:id="rId21"/>
  </p:sldIdLst>
  <p:sldSz cx="12192000" cy="6858000"/>
  <p:notesSz cx="9309100" cy="7023100"/>
  <p:defaultTextStyle>
    <a:defPPr>
      <a:defRPr lang="en-US"/>
    </a:defPPr>
    <a:lvl1pPr marL="0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7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4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1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482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352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223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094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963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94DA8A4-CD18-479B-887C-89F2C17B476A}">
          <p14:sldIdLst>
            <p14:sldId id="1095"/>
            <p14:sldId id="2147374767"/>
            <p14:sldId id="2147481127"/>
            <p14:sldId id="2147374775"/>
            <p14:sldId id="2147481126"/>
            <p14:sldId id="2147476041"/>
            <p14:sldId id="2147481124"/>
            <p14:sldId id="2147481128"/>
            <p14:sldId id="2147481129"/>
            <p14:sldId id="2147481130"/>
            <p14:sldId id="2147374754"/>
          </p14:sldIdLst>
        </p14:section>
        <p14:section name="Talking Point" id="{60F31F53-4318-4074-B463-78F92E77227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9C3081-84BB-7D2D-20E9-B0C34AD038AB}" name="Bhanot, Shilpa" initials="BS" userId="S::shilpa.bhanot@t-mobile.com::a21b88e2-c8f8-4d8e-ba0e-5b4d24ba183a" providerId="AD"/>
  <p188:author id="{E67502A7-31A8-56DF-5543-144F1C9FF704}" name="Cast, Tom" initials="TC" userId="Cast, Tom" providerId="None"/>
  <p188:author id="{2FC3E0BA-206F-4073-AB86-C9E1F748D34C}" name="Hooker, Michael" initials="HM" userId="S::Michael.Hooker@T-Mobile.com::21b5ceac-fe57-43bf-b039-52384e6e39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ook, Sarah" initials="CS" lastIdx="1" clrIdx="6">
    <p:extLst>
      <p:ext uri="{19B8F6BF-5375-455C-9EA6-DF929625EA0E}">
        <p15:presenceInfo xmlns:p15="http://schemas.microsoft.com/office/powerpoint/2012/main" userId="S::Sarah.Crites@T-Mobile.com::92aeb407-ee20-4a83-a131-93ce22d55815" providerId="AD"/>
      </p:ext>
    </p:extLst>
  </p:cmAuthor>
  <p:cmAuthor id="1" name="Bhanot, Shilpa" initials="BS" lastIdx="35" clrIdx="0">
    <p:extLst>
      <p:ext uri="{19B8F6BF-5375-455C-9EA6-DF929625EA0E}">
        <p15:presenceInfo xmlns:p15="http://schemas.microsoft.com/office/powerpoint/2012/main" userId="S::Shilpa.Bhanot@T-Mobile.com::a21b88e2-c8f8-4d8e-ba0e-5b4d24ba183a" providerId="AD"/>
      </p:ext>
    </p:extLst>
  </p:cmAuthor>
  <p:cmAuthor id="8" name="Hooker, Michael" initials="HM [2]" lastIdx="2" clrIdx="7">
    <p:extLst>
      <p:ext uri="{19B8F6BF-5375-455C-9EA6-DF929625EA0E}">
        <p15:presenceInfo xmlns:p15="http://schemas.microsoft.com/office/powerpoint/2012/main" userId="S::michael.hooker_t-mobile.com#ext#@sprint.onmicrosoft.com::e54c301d-bc34-4548-8d44-72dc3085665d" providerId="AD"/>
      </p:ext>
    </p:extLst>
  </p:cmAuthor>
  <p:cmAuthor id="2" name="Hooker, Michael" initials="HM" lastIdx="53" clrIdx="1">
    <p:extLst>
      <p:ext uri="{19B8F6BF-5375-455C-9EA6-DF929625EA0E}">
        <p15:presenceInfo xmlns:p15="http://schemas.microsoft.com/office/powerpoint/2012/main" userId="S::Michael.Hooker@T-Mobile.com::21b5ceac-fe57-43bf-b039-52384e6e395b" providerId="AD"/>
      </p:ext>
    </p:extLst>
  </p:cmAuthor>
  <p:cmAuthor id="9" name="Green, Jeanna" initials="GJ [2]" lastIdx="1" clrIdx="8">
    <p:extLst>
      <p:ext uri="{19B8F6BF-5375-455C-9EA6-DF929625EA0E}">
        <p15:presenceInfo xmlns:p15="http://schemas.microsoft.com/office/powerpoint/2012/main" userId="S::jeanna.m.green@t-mobile.com::7ee3d948-c2a2-48c2-848c-d95edb2660a9" providerId="AD"/>
      </p:ext>
    </p:extLst>
  </p:cmAuthor>
  <p:cmAuthor id="3" name="Dunn, Tim" initials="TD" lastIdx="8" clrIdx="2">
    <p:extLst>
      <p:ext uri="{19B8F6BF-5375-455C-9EA6-DF929625EA0E}">
        <p15:presenceInfo xmlns:p15="http://schemas.microsoft.com/office/powerpoint/2012/main" userId="Dunn, Tim" providerId="None"/>
      </p:ext>
    </p:extLst>
  </p:cmAuthor>
  <p:cmAuthor id="10" name="Cook, Sarah" initials="CS [2]" lastIdx="19" clrIdx="9">
    <p:extLst>
      <p:ext uri="{19B8F6BF-5375-455C-9EA6-DF929625EA0E}">
        <p15:presenceInfo xmlns:p15="http://schemas.microsoft.com/office/powerpoint/2012/main" userId="S::sarah.cook@t-mobile.com::92aeb407-ee20-4a83-a131-93ce22d55815" providerId="AD"/>
      </p:ext>
    </p:extLst>
  </p:cmAuthor>
  <p:cmAuthor id="4" name="Hensley, Max" initials="HM" lastIdx="7" clrIdx="3">
    <p:extLst>
      <p:ext uri="{19B8F6BF-5375-455C-9EA6-DF929625EA0E}">
        <p15:presenceInfo xmlns:p15="http://schemas.microsoft.com/office/powerpoint/2012/main" userId="S::max.hensley10@t-mobile.com::d1aa4024-faa1-4df3-81f1-e5d77884cc4a" providerId="AD"/>
      </p:ext>
    </p:extLst>
  </p:cmAuthor>
  <p:cmAuthor id="11" name="Rozier, Hilah" initials="RH" lastIdx="10" clrIdx="10">
    <p:extLst>
      <p:ext uri="{19B8F6BF-5375-455C-9EA6-DF929625EA0E}">
        <p15:presenceInfo xmlns:p15="http://schemas.microsoft.com/office/powerpoint/2012/main" userId="S::hilah.a.rozier@t-mobile.com::a2320101-32cd-4eab-84cf-ef625e26aa9a" providerId="AD"/>
      </p:ext>
    </p:extLst>
  </p:cmAuthor>
  <p:cmAuthor id="5" name="Hogan, Cody" initials="HC" lastIdx="2" clrIdx="4">
    <p:extLst>
      <p:ext uri="{19B8F6BF-5375-455C-9EA6-DF929625EA0E}">
        <p15:presenceInfo xmlns:p15="http://schemas.microsoft.com/office/powerpoint/2012/main" userId="S::cody.hogan@t-mobile.com::b8c886e2-abeb-45e1-832b-37f0fb22176b" providerId="AD"/>
      </p:ext>
    </p:extLst>
  </p:cmAuthor>
  <p:cmAuthor id="6" name="Green, Jeanna" initials="GJ" lastIdx="16" clrIdx="5">
    <p:extLst>
      <p:ext uri="{19B8F6BF-5375-455C-9EA6-DF929625EA0E}">
        <p15:presenceInfo xmlns:p15="http://schemas.microsoft.com/office/powerpoint/2012/main" userId="S::Jeanna.M.Green@sprint.com::e44113cc-1a11-4b73-97dd-20abefcf34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C9C46"/>
    <a:srgbClr val="5CB602"/>
    <a:srgbClr val="A7E8FF"/>
    <a:srgbClr val="E10370"/>
    <a:srgbClr val="339933"/>
    <a:srgbClr val="6BD402"/>
    <a:srgbClr val="F986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72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gerson, Eric" userId="e86acd01-226b-4c80-83b9-9e49150aaf6a" providerId="ADAL" clId="{A3F9C0A9-93E9-4D8A-AFE6-A6BF12F31A58}"/>
    <pc:docChg chg="custSel modSld">
      <pc:chgData name="Hagerson, Eric" userId="e86acd01-226b-4c80-83b9-9e49150aaf6a" providerId="ADAL" clId="{A3F9C0A9-93E9-4D8A-AFE6-A6BF12F31A58}" dt="2025-09-22T16:02:30.625" v="8" actId="478"/>
      <pc:docMkLst>
        <pc:docMk/>
      </pc:docMkLst>
      <pc:sldChg chg="delSp mod">
        <pc:chgData name="Hagerson, Eric" userId="e86acd01-226b-4c80-83b9-9e49150aaf6a" providerId="ADAL" clId="{A3F9C0A9-93E9-4D8A-AFE6-A6BF12F31A58}" dt="2025-09-22T16:02:30.625" v="8" actId="478"/>
        <pc:sldMkLst>
          <pc:docMk/>
          <pc:sldMk cId="2977478235" sldId="1095"/>
        </pc:sldMkLst>
        <pc:spChg chg="del">
          <ac:chgData name="Hagerson, Eric" userId="e86acd01-226b-4c80-83b9-9e49150aaf6a" providerId="ADAL" clId="{A3F9C0A9-93E9-4D8A-AFE6-A6BF12F31A58}" dt="2025-09-22T16:02:30.625" v="8" actId="478"/>
          <ac:spMkLst>
            <pc:docMk/>
            <pc:sldMk cId="2977478235" sldId="1095"/>
            <ac:spMk id="8" creationId="{AE887867-A5B6-CD6C-ED30-4F4D39F1FA6B}"/>
          </ac:spMkLst>
        </pc:spChg>
      </pc:sldChg>
      <pc:sldChg chg="delSp mod">
        <pc:chgData name="Hagerson, Eric" userId="e86acd01-226b-4c80-83b9-9e49150aaf6a" providerId="ADAL" clId="{A3F9C0A9-93E9-4D8A-AFE6-A6BF12F31A58}" dt="2025-09-22T16:02:22.764" v="7" actId="478"/>
        <pc:sldMkLst>
          <pc:docMk/>
          <pc:sldMk cId="1859224056" sldId="2147374775"/>
        </pc:sldMkLst>
        <pc:spChg chg="del">
          <ac:chgData name="Hagerson, Eric" userId="e86acd01-226b-4c80-83b9-9e49150aaf6a" providerId="ADAL" clId="{A3F9C0A9-93E9-4D8A-AFE6-A6BF12F31A58}" dt="2025-09-22T16:02:22.764" v="7" actId="478"/>
          <ac:spMkLst>
            <pc:docMk/>
            <pc:sldMk cId="1859224056" sldId="2147374775"/>
            <ac:spMk id="2" creationId="{990B4FEF-B70F-C7A9-CD9A-3E53DCDA4C68}"/>
          </ac:spMkLst>
        </pc:spChg>
      </pc:sldChg>
      <pc:sldChg chg="delSp modSp mod">
        <pc:chgData name="Hagerson, Eric" userId="e86acd01-226b-4c80-83b9-9e49150aaf6a" providerId="ADAL" clId="{A3F9C0A9-93E9-4D8A-AFE6-A6BF12F31A58}" dt="2025-09-22T16:02:14.576" v="5" actId="478"/>
        <pc:sldMkLst>
          <pc:docMk/>
          <pc:sldMk cId="3467605115" sldId="2147476041"/>
        </pc:sldMkLst>
        <pc:spChg chg="del mod">
          <ac:chgData name="Hagerson, Eric" userId="e86acd01-226b-4c80-83b9-9e49150aaf6a" providerId="ADAL" clId="{A3F9C0A9-93E9-4D8A-AFE6-A6BF12F31A58}" dt="2025-09-22T16:02:14.576" v="5" actId="478"/>
          <ac:spMkLst>
            <pc:docMk/>
            <pc:sldMk cId="3467605115" sldId="2147476041"/>
            <ac:spMk id="2" creationId="{8ECF3A94-960B-C876-1B6F-AF3A96BA725F}"/>
          </ac:spMkLst>
        </pc:spChg>
      </pc:sldChg>
      <pc:sldChg chg="delSp modSp mod">
        <pc:chgData name="Hagerson, Eric" userId="e86acd01-226b-4c80-83b9-9e49150aaf6a" providerId="ADAL" clId="{A3F9C0A9-93E9-4D8A-AFE6-A6BF12F31A58}" dt="2025-09-22T16:02:06.476" v="3" actId="478"/>
        <pc:sldMkLst>
          <pc:docMk/>
          <pc:sldMk cId="348446870" sldId="2147481124"/>
        </pc:sldMkLst>
        <pc:spChg chg="del mod">
          <ac:chgData name="Hagerson, Eric" userId="e86acd01-226b-4c80-83b9-9e49150aaf6a" providerId="ADAL" clId="{A3F9C0A9-93E9-4D8A-AFE6-A6BF12F31A58}" dt="2025-09-22T16:02:06.476" v="3" actId="478"/>
          <ac:spMkLst>
            <pc:docMk/>
            <pc:sldMk cId="348446870" sldId="2147481124"/>
            <ac:spMk id="3" creationId="{20F39A0D-0AD8-167F-7E66-4D53D5000E8C}"/>
          </ac:spMkLst>
        </pc:spChg>
      </pc:sldChg>
      <pc:sldChg chg="delSp mod">
        <pc:chgData name="Hagerson, Eric" userId="e86acd01-226b-4c80-83b9-9e49150aaf6a" providerId="ADAL" clId="{A3F9C0A9-93E9-4D8A-AFE6-A6BF12F31A58}" dt="2025-09-22T16:02:18.779" v="6" actId="478"/>
        <pc:sldMkLst>
          <pc:docMk/>
          <pc:sldMk cId="913137206" sldId="2147481126"/>
        </pc:sldMkLst>
        <pc:spChg chg="del">
          <ac:chgData name="Hagerson, Eric" userId="e86acd01-226b-4c80-83b9-9e49150aaf6a" providerId="ADAL" clId="{A3F9C0A9-93E9-4D8A-AFE6-A6BF12F31A58}" dt="2025-09-22T16:02:18.779" v="6" actId="478"/>
          <ac:spMkLst>
            <pc:docMk/>
            <pc:sldMk cId="913137206" sldId="2147481126"/>
            <ac:spMk id="2" creationId="{B6EEE429-818E-3C61-CB99-6E7DDC2D34E7}"/>
          </ac:spMkLst>
        </pc:spChg>
      </pc:sldChg>
      <pc:sldChg chg="delSp mod">
        <pc:chgData name="Hagerson, Eric" userId="e86acd01-226b-4c80-83b9-9e49150aaf6a" providerId="ADAL" clId="{A3F9C0A9-93E9-4D8A-AFE6-A6BF12F31A58}" dt="2025-09-22T16:01:54.396" v="1" actId="478"/>
        <pc:sldMkLst>
          <pc:docMk/>
          <pc:sldMk cId="2683754735" sldId="2147481129"/>
        </pc:sldMkLst>
        <pc:spChg chg="del">
          <ac:chgData name="Hagerson, Eric" userId="e86acd01-226b-4c80-83b9-9e49150aaf6a" providerId="ADAL" clId="{A3F9C0A9-93E9-4D8A-AFE6-A6BF12F31A58}" dt="2025-09-22T16:01:54.396" v="1" actId="478"/>
          <ac:spMkLst>
            <pc:docMk/>
            <pc:sldMk cId="2683754735" sldId="2147481129"/>
            <ac:spMk id="2" creationId="{AF57B261-3393-6D66-DF59-22945D71A7A8}"/>
          </ac:spMkLst>
        </pc:spChg>
      </pc:sldChg>
      <pc:sldChg chg="delSp mod">
        <pc:chgData name="Hagerson, Eric" userId="e86acd01-226b-4c80-83b9-9e49150aaf6a" providerId="ADAL" clId="{A3F9C0A9-93E9-4D8A-AFE6-A6BF12F31A58}" dt="2025-09-22T16:01:51.253" v="0" actId="478"/>
        <pc:sldMkLst>
          <pc:docMk/>
          <pc:sldMk cId="1472750442" sldId="2147481130"/>
        </pc:sldMkLst>
        <pc:spChg chg="del">
          <ac:chgData name="Hagerson, Eric" userId="e86acd01-226b-4c80-83b9-9e49150aaf6a" providerId="ADAL" clId="{A3F9C0A9-93E9-4D8A-AFE6-A6BF12F31A58}" dt="2025-09-22T16:01:51.253" v="0" actId="478"/>
          <ac:spMkLst>
            <pc:docMk/>
            <pc:sldMk cId="1472750442" sldId="2147481130"/>
            <ac:spMk id="2" creationId="{007A5BB2-322E-AF5D-6510-7E640A148ED9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6F153E-D0EE-4FC9-B141-CB38E30EA1B6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98E4E6-1AFA-4C0B-A490-8E1E69DE2C4A}">
      <dgm:prSet phldrT="[Text]"/>
      <dgm:spPr/>
      <dgm:t>
        <a:bodyPr/>
        <a:lstStyle/>
        <a:p>
          <a:endParaRPr lang="en-US"/>
        </a:p>
      </dgm:t>
    </dgm:pt>
    <dgm:pt modelId="{BA79A1C5-9AB2-4C32-8BD0-9A1B4190103C}" type="parTrans" cxnId="{12BB72C6-E5A7-4DC1-97B2-6E461FD891FA}">
      <dgm:prSet/>
      <dgm:spPr/>
      <dgm:t>
        <a:bodyPr/>
        <a:lstStyle/>
        <a:p>
          <a:endParaRPr lang="en-US"/>
        </a:p>
      </dgm:t>
    </dgm:pt>
    <dgm:pt modelId="{9FEEDA48-09C3-4F11-95D9-6CFCF6434B05}" type="sibTrans" cxnId="{12BB72C6-E5A7-4DC1-97B2-6E461FD891FA}">
      <dgm:prSet/>
      <dgm:spPr/>
      <dgm:t>
        <a:bodyPr/>
        <a:lstStyle/>
        <a:p>
          <a:endParaRPr lang="en-US"/>
        </a:p>
      </dgm:t>
    </dgm:pt>
    <dgm:pt modelId="{698DC553-73F8-47AC-8D16-0884C95167C8}">
      <dgm:prSet phldrT="[Text]"/>
      <dgm:spPr/>
      <dgm:t>
        <a:bodyPr/>
        <a:lstStyle/>
        <a:p>
          <a:endParaRPr lang="en-US"/>
        </a:p>
      </dgm:t>
    </dgm:pt>
    <dgm:pt modelId="{10D1E4AC-697C-4CD1-9100-E4112A7DC9B7}" type="parTrans" cxnId="{BB7C072D-908A-4D0A-9BFA-27AC5E1419DE}">
      <dgm:prSet/>
      <dgm:spPr/>
      <dgm:t>
        <a:bodyPr/>
        <a:lstStyle/>
        <a:p>
          <a:endParaRPr lang="en-US"/>
        </a:p>
      </dgm:t>
    </dgm:pt>
    <dgm:pt modelId="{DD053DB6-927B-40BE-9492-44C852E4C91B}" type="sibTrans" cxnId="{BB7C072D-908A-4D0A-9BFA-27AC5E1419DE}">
      <dgm:prSet/>
      <dgm:spPr/>
      <dgm:t>
        <a:bodyPr/>
        <a:lstStyle/>
        <a:p>
          <a:endParaRPr lang="en-US"/>
        </a:p>
      </dgm:t>
    </dgm:pt>
    <dgm:pt modelId="{D43209A5-755D-4076-9111-C31FCAD3D6EF}">
      <dgm:prSet phldrT="[Text]"/>
      <dgm:spPr/>
      <dgm:t>
        <a:bodyPr/>
        <a:lstStyle/>
        <a:p>
          <a:endParaRPr lang="en-US"/>
        </a:p>
      </dgm:t>
    </dgm:pt>
    <dgm:pt modelId="{8C7CD384-0DF9-4FFF-8A8C-15209A98A0DD}" type="parTrans" cxnId="{1D3FABD8-33D0-4535-927A-1759C4442105}">
      <dgm:prSet/>
      <dgm:spPr/>
      <dgm:t>
        <a:bodyPr/>
        <a:lstStyle/>
        <a:p>
          <a:endParaRPr lang="en-US"/>
        </a:p>
      </dgm:t>
    </dgm:pt>
    <dgm:pt modelId="{D7FCE136-3578-4F01-86CC-36E30D96F9CE}" type="sibTrans" cxnId="{1D3FABD8-33D0-4535-927A-1759C4442105}">
      <dgm:prSet/>
      <dgm:spPr/>
      <dgm:t>
        <a:bodyPr/>
        <a:lstStyle/>
        <a:p>
          <a:endParaRPr lang="en-US"/>
        </a:p>
      </dgm:t>
    </dgm:pt>
    <dgm:pt modelId="{B9D44366-A466-4BAD-AEDD-9CA1F8700A5B}">
      <dgm:prSet phldrT="[Text]"/>
      <dgm:spPr/>
      <dgm:t>
        <a:bodyPr/>
        <a:lstStyle/>
        <a:p>
          <a:endParaRPr lang="en-US"/>
        </a:p>
      </dgm:t>
    </dgm:pt>
    <dgm:pt modelId="{2A8B1128-6E39-4E34-B47C-D560817EB253}" type="sibTrans" cxnId="{A8912FBB-A35C-4BED-B957-34F7B9706D20}">
      <dgm:prSet/>
      <dgm:spPr/>
      <dgm:t>
        <a:bodyPr/>
        <a:lstStyle/>
        <a:p>
          <a:endParaRPr lang="en-US"/>
        </a:p>
      </dgm:t>
    </dgm:pt>
    <dgm:pt modelId="{837AFA23-364D-4679-92A8-459069168E43}" type="parTrans" cxnId="{A8912FBB-A35C-4BED-B957-34F7B9706D20}">
      <dgm:prSet/>
      <dgm:spPr/>
      <dgm:t>
        <a:bodyPr/>
        <a:lstStyle/>
        <a:p>
          <a:endParaRPr lang="en-US"/>
        </a:p>
      </dgm:t>
    </dgm:pt>
    <dgm:pt modelId="{7BEA146B-2ADD-4C4E-B65E-C7584DE2332C}" type="pres">
      <dgm:prSet presAssocID="{056F153E-D0EE-4FC9-B141-CB38E30EA1B6}" presName="Name0" presStyleCnt="0">
        <dgm:presLayoutVars>
          <dgm:chMax/>
          <dgm:chPref/>
          <dgm:dir/>
          <dgm:animLvl val="lvl"/>
        </dgm:presLayoutVars>
      </dgm:prSet>
      <dgm:spPr/>
    </dgm:pt>
    <dgm:pt modelId="{FC25D5B4-0B98-4145-A7D6-CFACD448247D}" type="pres">
      <dgm:prSet presAssocID="{C698E4E6-1AFA-4C0B-A490-8E1E69DE2C4A}" presName="composite" presStyleCnt="0"/>
      <dgm:spPr/>
    </dgm:pt>
    <dgm:pt modelId="{BAEBFB10-5133-4C67-907D-244F31C44845}" type="pres">
      <dgm:prSet presAssocID="{C698E4E6-1AFA-4C0B-A490-8E1E69DE2C4A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</dgm:pt>
    <dgm:pt modelId="{E462BAD0-31BD-43BE-B581-65FF33DC6CA1}" type="pres">
      <dgm:prSet presAssocID="{C698E4E6-1AFA-4C0B-A490-8E1E69DE2C4A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7BD96A00-8DC4-42C4-991A-059AACA4B63C}" type="pres">
      <dgm:prSet presAssocID="{C698E4E6-1AFA-4C0B-A490-8E1E69DE2C4A}" presName="BalanceSpacing" presStyleCnt="0"/>
      <dgm:spPr/>
    </dgm:pt>
    <dgm:pt modelId="{6B0923F5-62F7-4C86-9226-90B741FA8E25}" type="pres">
      <dgm:prSet presAssocID="{C698E4E6-1AFA-4C0B-A490-8E1E69DE2C4A}" presName="BalanceSpacing1" presStyleCnt="0"/>
      <dgm:spPr/>
    </dgm:pt>
    <dgm:pt modelId="{4B6F72D3-DE70-4C59-A1B9-474724F019CB}" type="pres">
      <dgm:prSet presAssocID="{9FEEDA48-09C3-4F11-95D9-6CFCF6434B05}" presName="Accent1Text" presStyleLbl="node1" presStyleIdx="1" presStyleCnt="8"/>
      <dgm:spPr/>
    </dgm:pt>
    <dgm:pt modelId="{D05C47B0-57FE-4B35-9A41-DD8053B49D58}" type="pres">
      <dgm:prSet presAssocID="{9FEEDA48-09C3-4F11-95D9-6CFCF6434B05}" presName="spaceBetweenRectangles" presStyleCnt="0"/>
      <dgm:spPr/>
    </dgm:pt>
    <dgm:pt modelId="{869C6B7D-E56E-46F2-95E7-6330C7FEAA26}" type="pres">
      <dgm:prSet presAssocID="{698DC553-73F8-47AC-8D16-0884C95167C8}" presName="composite" presStyleCnt="0"/>
      <dgm:spPr/>
    </dgm:pt>
    <dgm:pt modelId="{85A9EE54-5937-4FA5-91BD-77FD333B5C9E}" type="pres">
      <dgm:prSet presAssocID="{698DC553-73F8-47AC-8D16-0884C95167C8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</dgm:pt>
    <dgm:pt modelId="{28C443F8-9F39-43C3-BE16-8E6E0EA63866}" type="pres">
      <dgm:prSet presAssocID="{698DC553-73F8-47AC-8D16-0884C95167C8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96884E10-9CF4-43BB-A8E4-CA346E76C2A5}" type="pres">
      <dgm:prSet presAssocID="{698DC553-73F8-47AC-8D16-0884C95167C8}" presName="BalanceSpacing" presStyleCnt="0"/>
      <dgm:spPr/>
    </dgm:pt>
    <dgm:pt modelId="{FF8E4BA2-0AB2-4DCD-899C-24B253AF88E2}" type="pres">
      <dgm:prSet presAssocID="{698DC553-73F8-47AC-8D16-0884C95167C8}" presName="BalanceSpacing1" presStyleCnt="0"/>
      <dgm:spPr/>
    </dgm:pt>
    <dgm:pt modelId="{FACF5FCD-F56E-4246-BFFA-1E848F6263F2}" type="pres">
      <dgm:prSet presAssocID="{DD053DB6-927B-40BE-9492-44C852E4C91B}" presName="Accent1Text" presStyleLbl="node1" presStyleIdx="3" presStyleCnt="8"/>
      <dgm:spPr/>
    </dgm:pt>
    <dgm:pt modelId="{568BADD4-FE54-4C4A-ADF0-583EABC66F61}" type="pres">
      <dgm:prSet presAssocID="{DD053DB6-927B-40BE-9492-44C852E4C91B}" presName="spaceBetweenRectangles" presStyleCnt="0"/>
      <dgm:spPr/>
    </dgm:pt>
    <dgm:pt modelId="{1C1CE0D5-E799-4F59-BC1C-A6BB5B654771}" type="pres">
      <dgm:prSet presAssocID="{D43209A5-755D-4076-9111-C31FCAD3D6EF}" presName="composite" presStyleCnt="0"/>
      <dgm:spPr/>
    </dgm:pt>
    <dgm:pt modelId="{C203983C-6041-4913-BC88-EDFBCF05ECBF}" type="pres">
      <dgm:prSet presAssocID="{D43209A5-755D-4076-9111-C31FCAD3D6EF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480C0239-2810-40C1-B458-4B7D42E015B7}" type="pres">
      <dgm:prSet presAssocID="{D43209A5-755D-4076-9111-C31FCAD3D6EF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053D5CDB-6017-40A1-B452-FC0971BC1348}" type="pres">
      <dgm:prSet presAssocID="{D43209A5-755D-4076-9111-C31FCAD3D6EF}" presName="BalanceSpacing" presStyleCnt="0"/>
      <dgm:spPr/>
    </dgm:pt>
    <dgm:pt modelId="{6C1B2EF6-EDF1-4126-95CA-64D8035F8D37}" type="pres">
      <dgm:prSet presAssocID="{D43209A5-755D-4076-9111-C31FCAD3D6EF}" presName="BalanceSpacing1" presStyleCnt="0"/>
      <dgm:spPr/>
    </dgm:pt>
    <dgm:pt modelId="{7ABCFDA6-F3AE-4BB9-A3AF-AB988AA276F0}" type="pres">
      <dgm:prSet presAssocID="{D7FCE136-3578-4F01-86CC-36E30D96F9CE}" presName="Accent1Text" presStyleLbl="node1" presStyleIdx="5" presStyleCnt="8"/>
      <dgm:spPr/>
    </dgm:pt>
    <dgm:pt modelId="{A293F861-5B90-4389-925D-0F7128AA6A69}" type="pres">
      <dgm:prSet presAssocID="{D7FCE136-3578-4F01-86CC-36E30D96F9CE}" presName="spaceBetweenRectangles" presStyleCnt="0"/>
      <dgm:spPr/>
    </dgm:pt>
    <dgm:pt modelId="{3F0A0347-9F31-4D95-8C49-768A41A81CF7}" type="pres">
      <dgm:prSet presAssocID="{B9D44366-A466-4BAD-AEDD-9CA1F8700A5B}" presName="composite" presStyleCnt="0"/>
      <dgm:spPr/>
    </dgm:pt>
    <dgm:pt modelId="{6F3C85A6-C527-441A-A52E-982AFA8CBB02}" type="pres">
      <dgm:prSet presAssocID="{B9D44366-A466-4BAD-AEDD-9CA1F8700A5B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</dgm:pt>
    <dgm:pt modelId="{C5FEE662-56E9-4573-AA5F-E6ADBDCF969B}" type="pres">
      <dgm:prSet presAssocID="{B9D44366-A466-4BAD-AEDD-9CA1F8700A5B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F627F411-F907-444E-9681-A587C0109759}" type="pres">
      <dgm:prSet presAssocID="{B9D44366-A466-4BAD-AEDD-9CA1F8700A5B}" presName="BalanceSpacing" presStyleCnt="0"/>
      <dgm:spPr/>
    </dgm:pt>
    <dgm:pt modelId="{7D431561-F116-4B23-BCD6-CD9F9F1053D4}" type="pres">
      <dgm:prSet presAssocID="{B9D44366-A466-4BAD-AEDD-9CA1F8700A5B}" presName="BalanceSpacing1" presStyleCnt="0"/>
      <dgm:spPr/>
    </dgm:pt>
    <dgm:pt modelId="{5E8DEEEE-7FB2-4A31-8935-A50AF0223FA6}" type="pres">
      <dgm:prSet presAssocID="{2A8B1128-6E39-4E34-B47C-D560817EB253}" presName="Accent1Text" presStyleLbl="node1" presStyleIdx="7" presStyleCnt="8"/>
      <dgm:spPr/>
    </dgm:pt>
  </dgm:ptLst>
  <dgm:cxnLst>
    <dgm:cxn modelId="{47E39902-DB0E-416F-9F44-FB0177C9C300}" type="presOf" srcId="{056F153E-D0EE-4FC9-B141-CB38E30EA1B6}" destId="{7BEA146B-2ADD-4C4E-B65E-C7584DE2332C}" srcOrd="0" destOrd="0" presId="urn:microsoft.com/office/officeart/2008/layout/AlternatingHexagons"/>
    <dgm:cxn modelId="{29C9EE0A-9D14-4070-A6F5-7240479EDB71}" type="presOf" srcId="{2A8B1128-6E39-4E34-B47C-D560817EB253}" destId="{5E8DEEEE-7FB2-4A31-8935-A50AF0223FA6}" srcOrd="0" destOrd="0" presId="urn:microsoft.com/office/officeart/2008/layout/AlternatingHexagons"/>
    <dgm:cxn modelId="{BB7C072D-908A-4D0A-9BFA-27AC5E1419DE}" srcId="{056F153E-D0EE-4FC9-B141-CB38E30EA1B6}" destId="{698DC553-73F8-47AC-8D16-0884C95167C8}" srcOrd="1" destOrd="0" parTransId="{10D1E4AC-697C-4CD1-9100-E4112A7DC9B7}" sibTransId="{DD053DB6-927B-40BE-9492-44C852E4C91B}"/>
    <dgm:cxn modelId="{922FF536-D607-4FD0-8938-CC6EEA3F8BD3}" type="presOf" srcId="{DD053DB6-927B-40BE-9492-44C852E4C91B}" destId="{FACF5FCD-F56E-4246-BFFA-1E848F6263F2}" srcOrd="0" destOrd="0" presId="urn:microsoft.com/office/officeart/2008/layout/AlternatingHexagons"/>
    <dgm:cxn modelId="{E9C20137-3499-4A88-B39C-DA9DA854FAC4}" type="presOf" srcId="{698DC553-73F8-47AC-8D16-0884C95167C8}" destId="{85A9EE54-5937-4FA5-91BD-77FD333B5C9E}" srcOrd="0" destOrd="0" presId="urn:microsoft.com/office/officeart/2008/layout/AlternatingHexagons"/>
    <dgm:cxn modelId="{F881293F-ADFE-4082-A5F5-F782B7CB5E56}" type="presOf" srcId="{D43209A5-755D-4076-9111-C31FCAD3D6EF}" destId="{C203983C-6041-4913-BC88-EDFBCF05ECBF}" srcOrd="0" destOrd="0" presId="urn:microsoft.com/office/officeart/2008/layout/AlternatingHexagons"/>
    <dgm:cxn modelId="{FD22126E-110B-4527-9FF8-A56A9CA28973}" type="presOf" srcId="{B9D44366-A466-4BAD-AEDD-9CA1F8700A5B}" destId="{6F3C85A6-C527-441A-A52E-982AFA8CBB02}" srcOrd="0" destOrd="0" presId="urn:microsoft.com/office/officeart/2008/layout/AlternatingHexagons"/>
    <dgm:cxn modelId="{59938F95-7C3A-4B74-B851-A7C49848337F}" type="presOf" srcId="{C698E4E6-1AFA-4C0B-A490-8E1E69DE2C4A}" destId="{BAEBFB10-5133-4C67-907D-244F31C44845}" srcOrd="0" destOrd="0" presId="urn:microsoft.com/office/officeart/2008/layout/AlternatingHexagons"/>
    <dgm:cxn modelId="{3A2463A9-E6B4-46E1-94DE-6135EB068139}" type="presOf" srcId="{D7FCE136-3578-4F01-86CC-36E30D96F9CE}" destId="{7ABCFDA6-F3AE-4BB9-A3AF-AB988AA276F0}" srcOrd="0" destOrd="0" presId="urn:microsoft.com/office/officeart/2008/layout/AlternatingHexagons"/>
    <dgm:cxn modelId="{A8912FBB-A35C-4BED-B957-34F7B9706D20}" srcId="{056F153E-D0EE-4FC9-B141-CB38E30EA1B6}" destId="{B9D44366-A466-4BAD-AEDD-9CA1F8700A5B}" srcOrd="3" destOrd="0" parTransId="{837AFA23-364D-4679-92A8-459069168E43}" sibTransId="{2A8B1128-6E39-4E34-B47C-D560817EB253}"/>
    <dgm:cxn modelId="{12BB72C6-E5A7-4DC1-97B2-6E461FD891FA}" srcId="{056F153E-D0EE-4FC9-B141-CB38E30EA1B6}" destId="{C698E4E6-1AFA-4C0B-A490-8E1E69DE2C4A}" srcOrd="0" destOrd="0" parTransId="{BA79A1C5-9AB2-4C32-8BD0-9A1B4190103C}" sibTransId="{9FEEDA48-09C3-4F11-95D9-6CFCF6434B05}"/>
    <dgm:cxn modelId="{1D3FABD8-33D0-4535-927A-1759C4442105}" srcId="{056F153E-D0EE-4FC9-B141-CB38E30EA1B6}" destId="{D43209A5-755D-4076-9111-C31FCAD3D6EF}" srcOrd="2" destOrd="0" parTransId="{8C7CD384-0DF9-4FFF-8A8C-15209A98A0DD}" sibTransId="{D7FCE136-3578-4F01-86CC-36E30D96F9CE}"/>
    <dgm:cxn modelId="{DCDEAED9-3C4E-4A4E-AB73-A06DCAFE3DE9}" type="presOf" srcId="{9FEEDA48-09C3-4F11-95D9-6CFCF6434B05}" destId="{4B6F72D3-DE70-4C59-A1B9-474724F019CB}" srcOrd="0" destOrd="0" presId="urn:microsoft.com/office/officeart/2008/layout/AlternatingHexagons"/>
    <dgm:cxn modelId="{5595DD72-5F11-409F-AD01-011F14615EB8}" type="presParOf" srcId="{7BEA146B-2ADD-4C4E-B65E-C7584DE2332C}" destId="{FC25D5B4-0B98-4145-A7D6-CFACD448247D}" srcOrd="0" destOrd="0" presId="urn:microsoft.com/office/officeart/2008/layout/AlternatingHexagons"/>
    <dgm:cxn modelId="{4E8905A7-F18C-4A4C-812B-5EF14B72153B}" type="presParOf" srcId="{FC25D5B4-0B98-4145-A7D6-CFACD448247D}" destId="{BAEBFB10-5133-4C67-907D-244F31C44845}" srcOrd="0" destOrd="0" presId="urn:microsoft.com/office/officeart/2008/layout/AlternatingHexagons"/>
    <dgm:cxn modelId="{FD3AD603-2B5B-4300-9B36-CE5BDFE96001}" type="presParOf" srcId="{FC25D5B4-0B98-4145-A7D6-CFACD448247D}" destId="{E462BAD0-31BD-43BE-B581-65FF33DC6CA1}" srcOrd="1" destOrd="0" presId="urn:microsoft.com/office/officeart/2008/layout/AlternatingHexagons"/>
    <dgm:cxn modelId="{A501E56B-813D-4615-ACE2-36248D1C48EA}" type="presParOf" srcId="{FC25D5B4-0B98-4145-A7D6-CFACD448247D}" destId="{7BD96A00-8DC4-42C4-991A-059AACA4B63C}" srcOrd="2" destOrd="0" presId="urn:microsoft.com/office/officeart/2008/layout/AlternatingHexagons"/>
    <dgm:cxn modelId="{AD436197-ED9D-46C4-97CF-F62C28210C9F}" type="presParOf" srcId="{FC25D5B4-0B98-4145-A7D6-CFACD448247D}" destId="{6B0923F5-62F7-4C86-9226-90B741FA8E25}" srcOrd="3" destOrd="0" presId="urn:microsoft.com/office/officeart/2008/layout/AlternatingHexagons"/>
    <dgm:cxn modelId="{8C5DB0BA-C646-4BDD-95CE-FB2A2020106A}" type="presParOf" srcId="{FC25D5B4-0B98-4145-A7D6-CFACD448247D}" destId="{4B6F72D3-DE70-4C59-A1B9-474724F019CB}" srcOrd="4" destOrd="0" presId="urn:microsoft.com/office/officeart/2008/layout/AlternatingHexagons"/>
    <dgm:cxn modelId="{F9424846-3DDF-4FED-A943-51547F24E87F}" type="presParOf" srcId="{7BEA146B-2ADD-4C4E-B65E-C7584DE2332C}" destId="{D05C47B0-57FE-4B35-9A41-DD8053B49D58}" srcOrd="1" destOrd="0" presId="urn:microsoft.com/office/officeart/2008/layout/AlternatingHexagons"/>
    <dgm:cxn modelId="{998E123D-D86C-4CAF-B740-BB77069BF56F}" type="presParOf" srcId="{7BEA146B-2ADD-4C4E-B65E-C7584DE2332C}" destId="{869C6B7D-E56E-46F2-95E7-6330C7FEAA26}" srcOrd="2" destOrd="0" presId="urn:microsoft.com/office/officeart/2008/layout/AlternatingHexagons"/>
    <dgm:cxn modelId="{BFCC1AE4-1253-4CD4-B8B1-52E8B570F368}" type="presParOf" srcId="{869C6B7D-E56E-46F2-95E7-6330C7FEAA26}" destId="{85A9EE54-5937-4FA5-91BD-77FD333B5C9E}" srcOrd="0" destOrd="0" presId="urn:microsoft.com/office/officeart/2008/layout/AlternatingHexagons"/>
    <dgm:cxn modelId="{E6713139-9F71-44FE-BADA-9307F2A00461}" type="presParOf" srcId="{869C6B7D-E56E-46F2-95E7-6330C7FEAA26}" destId="{28C443F8-9F39-43C3-BE16-8E6E0EA63866}" srcOrd="1" destOrd="0" presId="urn:microsoft.com/office/officeart/2008/layout/AlternatingHexagons"/>
    <dgm:cxn modelId="{663B8081-72EE-4ECC-AAD5-1B5AFBAA9F78}" type="presParOf" srcId="{869C6B7D-E56E-46F2-95E7-6330C7FEAA26}" destId="{96884E10-9CF4-43BB-A8E4-CA346E76C2A5}" srcOrd="2" destOrd="0" presId="urn:microsoft.com/office/officeart/2008/layout/AlternatingHexagons"/>
    <dgm:cxn modelId="{820DFE7D-B7ED-4240-81CE-4EBAFD95E32E}" type="presParOf" srcId="{869C6B7D-E56E-46F2-95E7-6330C7FEAA26}" destId="{FF8E4BA2-0AB2-4DCD-899C-24B253AF88E2}" srcOrd="3" destOrd="0" presId="urn:microsoft.com/office/officeart/2008/layout/AlternatingHexagons"/>
    <dgm:cxn modelId="{00CE6813-CD45-4590-8BD5-91B3EA2DF8FA}" type="presParOf" srcId="{869C6B7D-E56E-46F2-95E7-6330C7FEAA26}" destId="{FACF5FCD-F56E-4246-BFFA-1E848F6263F2}" srcOrd="4" destOrd="0" presId="urn:microsoft.com/office/officeart/2008/layout/AlternatingHexagons"/>
    <dgm:cxn modelId="{F8650424-D040-4238-A440-5C90D559B0EC}" type="presParOf" srcId="{7BEA146B-2ADD-4C4E-B65E-C7584DE2332C}" destId="{568BADD4-FE54-4C4A-ADF0-583EABC66F61}" srcOrd="3" destOrd="0" presId="urn:microsoft.com/office/officeart/2008/layout/AlternatingHexagons"/>
    <dgm:cxn modelId="{CC98E23F-B740-42E7-9DAA-4596A4FB3DEC}" type="presParOf" srcId="{7BEA146B-2ADD-4C4E-B65E-C7584DE2332C}" destId="{1C1CE0D5-E799-4F59-BC1C-A6BB5B654771}" srcOrd="4" destOrd="0" presId="urn:microsoft.com/office/officeart/2008/layout/AlternatingHexagons"/>
    <dgm:cxn modelId="{FED7231E-89B5-48DF-88E3-410FCFC3D433}" type="presParOf" srcId="{1C1CE0D5-E799-4F59-BC1C-A6BB5B654771}" destId="{C203983C-6041-4913-BC88-EDFBCF05ECBF}" srcOrd="0" destOrd="0" presId="urn:microsoft.com/office/officeart/2008/layout/AlternatingHexagons"/>
    <dgm:cxn modelId="{5B68A0D7-0A08-4133-A2B0-1937A1725253}" type="presParOf" srcId="{1C1CE0D5-E799-4F59-BC1C-A6BB5B654771}" destId="{480C0239-2810-40C1-B458-4B7D42E015B7}" srcOrd="1" destOrd="0" presId="urn:microsoft.com/office/officeart/2008/layout/AlternatingHexagons"/>
    <dgm:cxn modelId="{C675FF6C-EEEB-4C3B-B871-F7E01268B197}" type="presParOf" srcId="{1C1CE0D5-E799-4F59-BC1C-A6BB5B654771}" destId="{053D5CDB-6017-40A1-B452-FC0971BC1348}" srcOrd="2" destOrd="0" presId="urn:microsoft.com/office/officeart/2008/layout/AlternatingHexagons"/>
    <dgm:cxn modelId="{B30E3EBB-17B5-4433-A5D7-0C2CAD715635}" type="presParOf" srcId="{1C1CE0D5-E799-4F59-BC1C-A6BB5B654771}" destId="{6C1B2EF6-EDF1-4126-95CA-64D8035F8D37}" srcOrd="3" destOrd="0" presId="urn:microsoft.com/office/officeart/2008/layout/AlternatingHexagons"/>
    <dgm:cxn modelId="{6C6773D4-F560-410F-9431-3B3321794252}" type="presParOf" srcId="{1C1CE0D5-E799-4F59-BC1C-A6BB5B654771}" destId="{7ABCFDA6-F3AE-4BB9-A3AF-AB988AA276F0}" srcOrd="4" destOrd="0" presId="urn:microsoft.com/office/officeart/2008/layout/AlternatingHexagons"/>
    <dgm:cxn modelId="{61C46836-A3E7-4271-906E-A11ED3C25138}" type="presParOf" srcId="{7BEA146B-2ADD-4C4E-B65E-C7584DE2332C}" destId="{A293F861-5B90-4389-925D-0F7128AA6A69}" srcOrd="5" destOrd="0" presId="urn:microsoft.com/office/officeart/2008/layout/AlternatingHexagons"/>
    <dgm:cxn modelId="{6CBCCE74-2975-4709-9512-3098204315D2}" type="presParOf" srcId="{7BEA146B-2ADD-4C4E-B65E-C7584DE2332C}" destId="{3F0A0347-9F31-4D95-8C49-768A41A81CF7}" srcOrd="6" destOrd="0" presId="urn:microsoft.com/office/officeart/2008/layout/AlternatingHexagons"/>
    <dgm:cxn modelId="{B5B6D57A-E9A4-47DF-AAE9-F35AFFFA333C}" type="presParOf" srcId="{3F0A0347-9F31-4D95-8C49-768A41A81CF7}" destId="{6F3C85A6-C527-441A-A52E-982AFA8CBB02}" srcOrd="0" destOrd="0" presId="urn:microsoft.com/office/officeart/2008/layout/AlternatingHexagons"/>
    <dgm:cxn modelId="{6DF9E6C2-72D3-48B3-8D0B-75896B324BBB}" type="presParOf" srcId="{3F0A0347-9F31-4D95-8C49-768A41A81CF7}" destId="{C5FEE662-56E9-4573-AA5F-E6ADBDCF969B}" srcOrd="1" destOrd="0" presId="urn:microsoft.com/office/officeart/2008/layout/AlternatingHexagons"/>
    <dgm:cxn modelId="{3A3C9872-7D3C-419A-AAD0-BE92A7114EA0}" type="presParOf" srcId="{3F0A0347-9F31-4D95-8C49-768A41A81CF7}" destId="{F627F411-F907-444E-9681-A587C0109759}" srcOrd="2" destOrd="0" presId="urn:microsoft.com/office/officeart/2008/layout/AlternatingHexagons"/>
    <dgm:cxn modelId="{6B670546-D088-4A10-B3FA-BFBF73009C39}" type="presParOf" srcId="{3F0A0347-9F31-4D95-8C49-768A41A81CF7}" destId="{7D431561-F116-4B23-BCD6-CD9F9F1053D4}" srcOrd="3" destOrd="0" presId="urn:microsoft.com/office/officeart/2008/layout/AlternatingHexagons"/>
    <dgm:cxn modelId="{9BFCC59A-16A7-4E5A-A1F8-4BC445C62272}" type="presParOf" srcId="{3F0A0347-9F31-4D95-8C49-768A41A81CF7}" destId="{5E8DEEEE-7FB2-4A31-8935-A50AF0223FA6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6F153E-D0EE-4FC9-B141-CB38E30EA1B6}" type="doc">
      <dgm:prSet loTypeId="urn:microsoft.com/office/officeart/2008/layout/AlternatingHexagons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698E4E6-1AFA-4C0B-A490-8E1E69DE2C4A}">
      <dgm:prSet phldrT="[Text]"/>
      <dgm:spPr/>
      <dgm:t>
        <a:bodyPr/>
        <a:lstStyle/>
        <a:p>
          <a:endParaRPr lang="en-US"/>
        </a:p>
      </dgm:t>
    </dgm:pt>
    <dgm:pt modelId="{BA79A1C5-9AB2-4C32-8BD0-9A1B4190103C}" type="parTrans" cxnId="{12BB72C6-E5A7-4DC1-97B2-6E461FD891FA}">
      <dgm:prSet/>
      <dgm:spPr/>
      <dgm:t>
        <a:bodyPr/>
        <a:lstStyle/>
        <a:p>
          <a:endParaRPr lang="en-US"/>
        </a:p>
      </dgm:t>
    </dgm:pt>
    <dgm:pt modelId="{9FEEDA48-09C3-4F11-95D9-6CFCF6434B05}" type="sibTrans" cxnId="{12BB72C6-E5A7-4DC1-97B2-6E461FD891FA}">
      <dgm:prSet/>
      <dgm:spPr/>
      <dgm:t>
        <a:bodyPr/>
        <a:lstStyle/>
        <a:p>
          <a:endParaRPr lang="en-US"/>
        </a:p>
      </dgm:t>
    </dgm:pt>
    <dgm:pt modelId="{698DC553-73F8-47AC-8D16-0884C95167C8}">
      <dgm:prSet phldrT="[Text]"/>
      <dgm:spPr/>
      <dgm:t>
        <a:bodyPr/>
        <a:lstStyle/>
        <a:p>
          <a:endParaRPr lang="en-US"/>
        </a:p>
      </dgm:t>
    </dgm:pt>
    <dgm:pt modelId="{10D1E4AC-697C-4CD1-9100-E4112A7DC9B7}" type="parTrans" cxnId="{BB7C072D-908A-4D0A-9BFA-27AC5E1419DE}">
      <dgm:prSet/>
      <dgm:spPr/>
      <dgm:t>
        <a:bodyPr/>
        <a:lstStyle/>
        <a:p>
          <a:endParaRPr lang="en-US"/>
        </a:p>
      </dgm:t>
    </dgm:pt>
    <dgm:pt modelId="{DD053DB6-927B-40BE-9492-44C852E4C91B}" type="sibTrans" cxnId="{BB7C072D-908A-4D0A-9BFA-27AC5E1419DE}">
      <dgm:prSet/>
      <dgm:spPr/>
      <dgm:t>
        <a:bodyPr/>
        <a:lstStyle/>
        <a:p>
          <a:endParaRPr lang="en-US"/>
        </a:p>
      </dgm:t>
    </dgm:pt>
    <dgm:pt modelId="{D43209A5-755D-4076-9111-C31FCAD3D6EF}">
      <dgm:prSet phldrT="[Text]"/>
      <dgm:spPr/>
      <dgm:t>
        <a:bodyPr/>
        <a:lstStyle/>
        <a:p>
          <a:endParaRPr lang="en-US"/>
        </a:p>
      </dgm:t>
    </dgm:pt>
    <dgm:pt modelId="{8C7CD384-0DF9-4FFF-8A8C-15209A98A0DD}" type="parTrans" cxnId="{1D3FABD8-33D0-4535-927A-1759C4442105}">
      <dgm:prSet/>
      <dgm:spPr/>
      <dgm:t>
        <a:bodyPr/>
        <a:lstStyle/>
        <a:p>
          <a:endParaRPr lang="en-US"/>
        </a:p>
      </dgm:t>
    </dgm:pt>
    <dgm:pt modelId="{D7FCE136-3578-4F01-86CC-36E30D96F9CE}" type="sibTrans" cxnId="{1D3FABD8-33D0-4535-927A-1759C4442105}">
      <dgm:prSet/>
      <dgm:spPr/>
      <dgm:t>
        <a:bodyPr/>
        <a:lstStyle/>
        <a:p>
          <a:endParaRPr lang="en-US"/>
        </a:p>
      </dgm:t>
    </dgm:pt>
    <dgm:pt modelId="{B9D44366-A466-4BAD-AEDD-9CA1F8700A5B}">
      <dgm:prSet phldrT="[Text]"/>
      <dgm:spPr/>
      <dgm:t>
        <a:bodyPr/>
        <a:lstStyle/>
        <a:p>
          <a:endParaRPr lang="en-US"/>
        </a:p>
      </dgm:t>
    </dgm:pt>
    <dgm:pt modelId="{837AFA23-364D-4679-92A8-459069168E43}" type="parTrans" cxnId="{A8912FBB-A35C-4BED-B957-34F7B9706D20}">
      <dgm:prSet/>
      <dgm:spPr/>
      <dgm:t>
        <a:bodyPr/>
        <a:lstStyle/>
        <a:p>
          <a:endParaRPr lang="en-US"/>
        </a:p>
      </dgm:t>
    </dgm:pt>
    <dgm:pt modelId="{2A8B1128-6E39-4E34-B47C-D560817EB253}" type="sibTrans" cxnId="{A8912FBB-A35C-4BED-B957-34F7B9706D20}">
      <dgm:prSet/>
      <dgm:spPr/>
      <dgm:t>
        <a:bodyPr/>
        <a:lstStyle/>
        <a:p>
          <a:endParaRPr lang="en-US"/>
        </a:p>
      </dgm:t>
    </dgm:pt>
    <dgm:pt modelId="{7BEA146B-2ADD-4C4E-B65E-C7584DE2332C}" type="pres">
      <dgm:prSet presAssocID="{056F153E-D0EE-4FC9-B141-CB38E30EA1B6}" presName="Name0" presStyleCnt="0">
        <dgm:presLayoutVars>
          <dgm:chMax/>
          <dgm:chPref/>
          <dgm:dir/>
          <dgm:animLvl val="lvl"/>
        </dgm:presLayoutVars>
      </dgm:prSet>
      <dgm:spPr/>
    </dgm:pt>
    <dgm:pt modelId="{FC25D5B4-0B98-4145-A7D6-CFACD448247D}" type="pres">
      <dgm:prSet presAssocID="{C698E4E6-1AFA-4C0B-A490-8E1E69DE2C4A}" presName="composite" presStyleCnt="0"/>
      <dgm:spPr/>
    </dgm:pt>
    <dgm:pt modelId="{BAEBFB10-5133-4C67-907D-244F31C44845}" type="pres">
      <dgm:prSet presAssocID="{C698E4E6-1AFA-4C0B-A490-8E1E69DE2C4A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</dgm:pt>
    <dgm:pt modelId="{E462BAD0-31BD-43BE-B581-65FF33DC6CA1}" type="pres">
      <dgm:prSet presAssocID="{C698E4E6-1AFA-4C0B-A490-8E1E69DE2C4A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7BD96A00-8DC4-42C4-991A-059AACA4B63C}" type="pres">
      <dgm:prSet presAssocID="{C698E4E6-1AFA-4C0B-A490-8E1E69DE2C4A}" presName="BalanceSpacing" presStyleCnt="0"/>
      <dgm:spPr/>
    </dgm:pt>
    <dgm:pt modelId="{6B0923F5-62F7-4C86-9226-90B741FA8E25}" type="pres">
      <dgm:prSet presAssocID="{C698E4E6-1AFA-4C0B-A490-8E1E69DE2C4A}" presName="BalanceSpacing1" presStyleCnt="0"/>
      <dgm:spPr/>
    </dgm:pt>
    <dgm:pt modelId="{4B6F72D3-DE70-4C59-A1B9-474724F019CB}" type="pres">
      <dgm:prSet presAssocID="{9FEEDA48-09C3-4F11-95D9-6CFCF6434B05}" presName="Accent1Text" presStyleLbl="node1" presStyleIdx="1" presStyleCnt="8" custLinFactX="100000" custLinFactY="68508" custLinFactNeighborX="119824" custLinFactNeighborY="100000"/>
      <dgm:spPr/>
    </dgm:pt>
    <dgm:pt modelId="{D05C47B0-57FE-4B35-9A41-DD8053B49D58}" type="pres">
      <dgm:prSet presAssocID="{9FEEDA48-09C3-4F11-95D9-6CFCF6434B05}" presName="spaceBetweenRectangles" presStyleCnt="0"/>
      <dgm:spPr/>
    </dgm:pt>
    <dgm:pt modelId="{869C6B7D-E56E-46F2-95E7-6330C7FEAA26}" type="pres">
      <dgm:prSet presAssocID="{698DC553-73F8-47AC-8D16-0884C95167C8}" presName="composite" presStyleCnt="0"/>
      <dgm:spPr/>
    </dgm:pt>
    <dgm:pt modelId="{85A9EE54-5937-4FA5-91BD-77FD333B5C9E}" type="pres">
      <dgm:prSet presAssocID="{698DC553-73F8-47AC-8D16-0884C95167C8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</dgm:pt>
    <dgm:pt modelId="{28C443F8-9F39-43C3-BE16-8E6E0EA63866}" type="pres">
      <dgm:prSet presAssocID="{698DC553-73F8-47AC-8D16-0884C95167C8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96884E10-9CF4-43BB-A8E4-CA346E76C2A5}" type="pres">
      <dgm:prSet presAssocID="{698DC553-73F8-47AC-8D16-0884C95167C8}" presName="BalanceSpacing" presStyleCnt="0"/>
      <dgm:spPr/>
    </dgm:pt>
    <dgm:pt modelId="{FF8E4BA2-0AB2-4DCD-899C-24B253AF88E2}" type="pres">
      <dgm:prSet presAssocID="{698DC553-73F8-47AC-8D16-0884C95167C8}" presName="BalanceSpacing1" presStyleCnt="0"/>
      <dgm:spPr/>
    </dgm:pt>
    <dgm:pt modelId="{FACF5FCD-F56E-4246-BFFA-1E848F6263F2}" type="pres">
      <dgm:prSet presAssocID="{DD053DB6-927B-40BE-9492-44C852E4C91B}" presName="Accent1Text" presStyleLbl="node1" presStyleIdx="3" presStyleCnt="8"/>
      <dgm:spPr/>
    </dgm:pt>
    <dgm:pt modelId="{568BADD4-FE54-4C4A-ADF0-583EABC66F61}" type="pres">
      <dgm:prSet presAssocID="{DD053DB6-927B-40BE-9492-44C852E4C91B}" presName="spaceBetweenRectangles" presStyleCnt="0"/>
      <dgm:spPr/>
    </dgm:pt>
    <dgm:pt modelId="{1C1CE0D5-E799-4F59-BC1C-A6BB5B654771}" type="pres">
      <dgm:prSet presAssocID="{D43209A5-755D-4076-9111-C31FCAD3D6EF}" presName="composite" presStyleCnt="0"/>
      <dgm:spPr/>
    </dgm:pt>
    <dgm:pt modelId="{C203983C-6041-4913-BC88-EDFBCF05ECBF}" type="pres">
      <dgm:prSet presAssocID="{D43209A5-755D-4076-9111-C31FCAD3D6EF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480C0239-2810-40C1-B458-4B7D42E015B7}" type="pres">
      <dgm:prSet presAssocID="{D43209A5-755D-4076-9111-C31FCAD3D6EF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053D5CDB-6017-40A1-B452-FC0971BC1348}" type="pres">
      <dgm:prSet presAssocID="{D43209A5-755D-4076-9111-C31FCAD3D6EF}" presName="BalanceSpacing" presStyleCnt="0"/>
      <dgm:spPr/>
    </dgm:pt>
    <dgm:pt modelId="{6C1B2EF6-EDF1-4126-95CA-64D8035F8D37}" type="pres">
      <dgm:prSet presAssocID="{D43209A5-755D-4076-9111-C31FCAD3D6EF}" presName="BalanceSpacing1" presStyleCnt="0"/>
      <dgm:spPr/>
    </dgm:pt>
    <dgm:pt modelId="{7ABCFDA6-F3AE-4BB9-A3AF-AB988AA276F0}" type="pres">
      <dgm:prSet presAssocID="{D7FCE136-3578-4F01-86CC-36E30D96F9CE}" presName="Accent1Text" presStyleLbl="node1" presStyleIdx="5" presStyleCnt="8"/>
      <dgm:spPr/>
    </dgm:pt>
    <dgm:pt modelId="{A293F861-5B90-4389-925D-0F7128AA6A69}" type="pres">
      <dgm:prSet presAssocID="{D7FCE136-3578-4F01-86CC-36E30D96F9CE}" presName="spaceBetweenRectangles" presStyleCnt="0"/>
      <dgm:spPr/>
    </dgm:pt>
    <dgm:pt modelId="{3F0A0347-9F31-4D95-8C49-768A41A81CF7}" type="pres">
      <dgm:prSet presAssocID="{B9D44366-A466-4BAD-AEDD-9CA1F8700A5B}" presName="composite" presStyleCnt="0"/>
      <dgm:spPr/>
    </dgm:pt>
    <dgm:pt modelId="{6F3C85A6-C527-441A-A52E-982AFA8CBB02}" type="pres">
      <dgm:prSet presAssocID="{B9D44366-A466-4BAD-AEDD-9CA1F8700A5B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</dgm:pt>
    <dgm:pt modelId="{C5FEE662-56E9-4573-AA5F-E6ADBDCF969B}" type="pres">
      <dgm:prSet presAssocID="{B9D44366-A466-4BAD-AEDD-9CA1F8700A5B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F627F411-F907-444E-9681-A587C0109759}" type="pres">
      <dgm:prSet presAssocID="{B9D44366-A466-4BAD-AEDD-9CA1F8700A5B}" presName="BalanceSpacing" presStyleCnt="0"/>
      <dgm:spPr/>
    </dgm:pt>
    <dgm:pt modelId="{7D431561-F116-4B23-BCD6-CD9F9F1053D4}" type="pres">
      <dgm:prSet presAssocID="{B9D44366-A466-4BAD-AEDD-9CA1F8700A5B}" presName="BalanceSpacing1" presStyleCnt="0"/>
      <dgm:spPr/>
    </dgm:pt>
    <dgm:pt modelId="{5E8DEEEE-7FB2-4A31-8935-A50AF0223FA6}" type="pres">
      <dgm:prSet presAssocID="{2A8B1128-6E39-4E34-B47C-D560817EB253}" presName="Accent1Text" presStyleLbl="node1" presStyleIdx="7" presStyleCnt="8"/>
      <dgm:spPr/>
    </dgm:pt>
  </dgm:ptLst>
  <dgm:cxnLst>
    <dgm:cxn modelId="{47E39902-DB0E-416F-9F44-FB0177C9C300}" type="presOf" srcId="{056F153E-D0EE-4FC9-B141-CB38E30EA1B6}" destId="{7BEA146B-2ADD-4C4E-B65E-C7584DE2332C}" srcOrd="0" destOrd="0" presId="urn:microsoft.com/office/officeart/2008/layout/AlternatingHexagons"/>
    <dgm:cxn modelId="{29C9EE0A-9D14-4070-A6F5-7240479EDB71}" type="presOf" srcId="{2A8B1128-6E39-4E34-B47C-D560817EB253}" destId="{5E8DEEEE-7FB2-4A31-8935-A50AF0223FA6}" srcOrd="0" destOrd="0" presId="urn:microsoft.com/office/officeart/2008/layout/AlternatingHexagons"/>
    <dgm:cxn modelId="{BB7C072D-908A-4D0A-9BFA-27AC5E1419DE}" srcId="{056F153E-D0EE-4FC9-B141-CB38E30EA1B6}" destId="{698DC553-73F8-47AC-8D16-0884C95167C8}" srcOrd="1" destOrd="0" parTransId="{10D1E4AC-697C-4CD1-9100-E4112A7DC9B7}" sibTransId="{DD053DB6-927B-40BE-9492-44C852E4C91B}"/>
    <dgm:cxn modelId="{922FF536-D607-4FD0-8938-CC6EEA3F8BD3}" type="presOf" srcId="{DD053DB6-927B-40BE-9492-44C852E4C91B}" destId="{FACF5FCD-F56E-4246-BFFA-1E848F6263F2}" srcOrd="0" destOrd="0" presId="urn:microsoft.com/office/officeart/2008/layout/AlternatingHexagons"/>
    <dgm:cxn modelId="{E9C20137-3499-4A88-B39C-DA9DA854FAC4}" type="presOf" srcId="{698DC553-73F8-47AC-8D16-0884C95167C8}" destId="{85A9EE54-5937-4FA5-91BD-77FD333B5C9E}" srcOrd="0" destOrd="0" presId="urn:microsoft.com/office/officeart/2008/layout/AlternatingHexagons"/>
    <dgm:cxn modelId="{F881293F-ADFE-4082-A5F5-F782B7CB5E56}" type="presOf" srcId="{D43209A5-755D-4076-9111-C31FCAD3D6EF}" destId="{C203983C-6041-4913-BC88-EDFBCF05ECBF}" srcOrd="0" destOrd="0" presId="urn:microsoft.com/office/officeart/2008/layout/AlternatingHexagons"/>
    <dgm:cxn modelId="{FD22126E-110B-4527-9FF8-A56A9CA28973}" type="presOf" srcId="{B9D44366-A466-4BAD-AEDD-9CA1F8700A5B}" destId="{6F3C85A6-C527-441A-A52E-982AFA8CBB02}" srcOrd="0" destOrd="0" presId="urn:microsoft.com/office/officeart/2008/layout/AlternatingHexagons"/>
    <dgm:cxn modelId="{59938F95-7C3A-4B74-B851-A7C49848337F}" type="presOf" srcId="{C698E4E6-1AFA-4C0B-A490-8E1E69DE2C4A}" destId="{BAEBFB10-5133-4C67-907D-244F31C44845}" srcOrd="0" destOrd="0" presId="urn:microsoft.com/office/officeart/2008/layout/AlternatingHexagons"/>
    <dgm:cxn modelId="{3A2463A9-E6B4-46E1-94DE-6135EB068139}" type="presOf" srcId="{D7FCE136-3578-4F01-86CC-36E30D96F9CE}" destId="{7ABCFDA6-F3AE-4BB9-A3AF-AB988AA276F0}" srcOrd="0" destOrd="0" presId="urn:microsoft.com/office/officeart/2008/layout/AlternatingHexagons"/>
    <dgm:cxn modelId="{A8912FBB-A35C-4BED-B957-34F7B9706D20}" srcId="{056F153E-D0EE-4FC9-B141-CB38E30EA1B6}" destId="{B9D44366-A466-4BAD-AEDD-9CA1F8700A5B}" srcOrd="3" destOrd="0" parTransId="{837AFA23-364D-4679-92A8-459069168E43}" sibTransId="{2A8B1128-6E39-4E34-B47C-D560817EB253}"/>
    <dgm:cxn modelId="{12BB72C6-E5A7-4DC1-97B2-6E461FD891FA}" srcId="{056F153E-D0EE-4FC9-B141-CB38E30EA1B6}" destId="{C698E4E6-1AFA-4C0B-A490-8E1E69DE2C4A}" srcOrd="0" destOrd="0" parTransId="{BA79A1C5-9AB2-4C32-8BD0-9A1B4190103C}" sibTransId="{9FEEDA48-09C3-4F11-95D9-6CFCF6434B05}"/>
    <dgm:cxn modelId="{1D3FABD8-33D0-4535-927A-1759C4442105}" srcId="{056F153E-D0EE-4FC9-B141-CB38E30EA1B6}" destId="{D43209A5-755D-4076-9111-C31FCAD3D6EF}" srcOrd="2" destOrd="0" parTransId="{8C7CD384-0DF9-4FFF-8A8C-15209A98A0DD}" sibTransId="{D7FCE136-3578-4F01-86CC-36E30D96F9CE}"/>
    <dgm:cxn modelId="{DCDEAED9-3C4E-4A4E-AB73-A06DCAFE3DE9}" type="presOf" srcId="{9FEEDA48-09C3-4F11-95D9-6CFCF6434B05}" destId="{4B6F72D3-DE70-4C59-A1B9-474724F019CB}" srcOrd="0" destOrd="0" presId="urn:microsoft.com/office/officeart/2008/layout/AlternatingHexagons"/>
    <dgm:cxn modelId="{5595DD72-5F11-409F-AD01-011F14615EB8}" type="presParOf" srcId="{7BEA146B-2ADD-4C4E-B65E-C7584DE2332C}" destId="{FC25D5B4-0B98-4145-A7D6-CFACD448247D}" srcOrd="0" destOrd="0" presId="urn:microsoft.com/office/officeart/2008/layout/AlternatingHexagons"/>
    <dgm:cxn modelId="{4E8905A7-F18C-4A4C-812B-5EF14B72153B}" type="presParOf" srcId="{FC25D5B4-0B98-4145-A7D6-CFACD448247D}" destId="{BAEBFB10-5133-4C67-907D-244F31C44845}" srcOrd="0" destOrd="0" presId="urn:microsoft.com/office/officeart/2008/layout/AlternatingHexagons"/>
    <dgm:cxn modelId="{FD3AD603-2B5B-4300-9B36-CE5BDFE96001}" type="presParOf" srcId="{FC25D5B4-0B98-4145-A7D6-CFACD448247D}" destId="{E462BAD0-31BD-43BE-B581-65FF33DC6CA1}" srcOrd="1" destOrd="0" presId="urn:microsoft.com/office/officeart/2008/layout/AlternatingHexagons"/>
    <dgm:cxn modelId="{A501E56B-813D-4615-ACE2-36248D1C48EA}" type="presParOf" srcId="{FC25D5B4-0B98-4145-A7D6-CFACD448247D}" destId="{7BD96A00-8DC4-42C4-991A-059AACA4B63C}" srcOrd="2" destOrd="0" presId="urn:microsoft.com/office/officeart/2008/layout/AlternatingHexagons"/>
    <dgm:cxn modelId="{AD436197-ED9D-46C4-97CF-F62C28210C9F}" type="presParOf" srcId="{FC25D5B4-0B98-4145-A7D6-CFACD448247D}" destId="{6B0923F5-62F7-4C86-9226-90B741FA8E25}" srcOrd="3" destOrd="0" presId="urn:microsoft.com/office/officeart/2008/layout/AlternatingHexagons"/>
    <dgm:cxn modelId="{8C5DB0BA-C646-4BDD-95CE-FB2A2020106A}" type="presParOf" srcId="{FC25D5B4-0B98-4145-A7D6-CFACD448247D}" destId="{4B6F72D3-DE70-4C59-A1B9-474724F019CB}" srcOrd="4" destOrd="0" presId="urn:microsoft.com/office/officeart/2008/layout/AlternatingHexagons"/>
    <dgm:cxn modelId="{F9424846-3DDF-4FED-A943-51547F24E87F}" type="presParOf" srcId="{7BEA146B-2ADD-4C4E-B65E-C7584DE2332C}" destId="{D05C47B0-57FE-4B35-9A41-DD8053B49D58}" srcOrd="1" destOrd="0" presId="urn:microsoft.com/office/officeart/2008/layout/AlternatingHexagons"/>
    <dgm:cxn modelId="{998E123D-D86C-4CAF-B740-BB77069BF56F}" type="presParOf" srcId="{7BEA146B-2ADD-4C4E-B65E-C7584DE2332C}" destId="{869C6B7D-E56E-46F2-95E7-6330C7FEAA26}" srcOrd="2" destOrd="0" presId="urn:microsoft.com/office/officeart/2008/layout/AlternatingHexagons"/>
    <dgm:cxn modelId="{BFCC1AE4-1253-4CD4-B8B1-52E8B570F368}" type="presParOf" srcId="{869C6B7D-E56E-46F2-95E7-6330C7FEAA26}" destId="{85A9EE54-5937-4FA5-91BD-77FD333B5C9E}" srcOrd="0" destOrd="0" presId="urn:microsoft.com/office/officeart/2008/layout/AlternatingHexagons"/>
    <dgm:cxn modelId="{E6713139-9F71-44FE-BADA-9307F2A00461}" type="presParOf" srcId="{869C6B7D-E56E-46F2-95E7-6330C7FEAA26}" destId="{28C443F8-9F39-43C3-BE16-8E6E0EA63866}" srcOrd="1" destOrd="0" presId="urn:microsoft.com/office/officeart/2008/layout/AlternatingHexagons"/>
    <dgm:cxn modelId="{663B8081-72EE-4ECC-AAD5-1B5AFBAA9F78}" type="presParOf" srcId="{869C6B7D-E56E-46F2-95E7-6330C7FEAA26}" destId="{96884E10-9CF4-43BB-A8E4-CA346E76C2A5}" srcOrd="2" destOrd="0" presId="urn:microsoft.com/office/officeart/2008/layout/AlternatingHexagons"/>
    <dgm:cxn modelId="{820DFE7D-B7ED-4240-81CE-4EBAFD95E32E}" type="presParOf" srcId="{869C6B7D-E56E-46F2-95E7-6330C7FEAA26}" destId="{FF8E4BA2-0AB2-4DCD-899C-24B253AF88E2}" srcOrd="3" destOrd="0" presId="urn:microsoft.com/office/officeart/2008/layout/AlternatingHexagons"/>
    <dgm:cxn modelId="{00CE6813-CD45-4590-8BD5-91B3EA2DF8FA}" type="presParOf" srcId="{869C6B7D-E56E-46F2-95E7-6330C7FEAA26}" destId="{FACF5FCD-F56E-4246-BFFA-1E848F6263F2}" srcOrd="4" destOrd="0" presId="urn:microsoft.com/office/officeart/2008/layout/AlternatingHexagons"/>
    <dgm:cxn modelId="{F8650424-D040-4238-A440-5C90D559B0EC}" type="presParOf" srcId="{7BEA146B-2ADD-4C4E-B65E-C7584DE2332C}" destId="{568BADD4-FE54-4C4A-ADF0-583EABC66F61}" srcOrd="3" destOrd="0" presId="urn:microsoft.com/office/officeart/2008/layout/AlternatingHexagons"/>
    <dgm:cxn modelId="{CC98E23F-B740-42E7-9DAA-4596A4FB3DEC}" type="presParOf" srcId="{7BEA146B-2ADD-4C4E-B65E-C7584DE2332C}" destId="{1C1CE0D5-E799-4F59-BC1C-A6BB5B654771}" srcOrd="4" destOrd="0" presId="urn:microsoft.com/office/officeart/2008/layout/AlternatingHexagons"/>
    <dgm:cxn modelId="{FED7231E-89B5-48DF-88E3-410FCFC3D433}" type="presParOf" srcId="{1C1CE0D5-E799-4F59-BC1C-A6BB5B654771}" destId="{C203983C-6041-4913-BC88-EDFBCF05ECBF}" srcOrd="0" destOrd="0" presId="urn:microsoft.com/office/officeart/2008/layout/AlternatingHexagons"/>
    <dgm:cxn modelId="{5B68A0D7-0A08-4133-A2B0-1937A1725253}" type="presParOf" srcId="{1C1CE0D5-E799-4F59-BC1C-A6BB5B654771}" destId="{480C0239-2810-40C1-B458-4B7D42E015B7}" srcOrd="1" destOrd="0" presId="urn:microsoft.com/office/officeart/2008/layout/AlternatingHexagons"/>
    <dgm:cxn modelId="{C675FF6C-EEEB-4C3B-B871-F7E01268B197}" type="presParOf" srcId="{1C1CE0D5-E799-4F59-BC1C-A6BB5B654771}" destId="{053D5CDB-6017-40A1-B452-FC0971BC1348}" srcOrd="2" destOrd="0" presId="urn:microsoft.com/office/officeart/2008/layout/AlternatingHexagons"/>
    <dgm:cxn modelId="{B30E3EBB-17B5-4433-A5D7-0C2CAD715635}" type="presParOf" srcId="{1C1CE0D5-E799-4F59-BC1C-A6BB5B654771}" destId="{6C1B2EF6-EDF1-4126-95CA-64D8035F8D37}" srcOrd="3" destOrd="0" presId="urn:microsoft.com/office/officeart/2008/layout/AlternatingHexagons"/>
    <dgm:cxn modelId="{6C6773D4-F560-410F-9431-3B3321794252}" type="presParOf" srcId="{1C1CE0D5-E799-4F59-BC1C-A6BB5B654771}" destId="{7ABCFDA6-F3AE-4BB9-A3AF-AB988AA276F0}" srcOrd="4" destOrd="0" presId="urn:microsoft.com/office/officeart/2008/layout/AlternatingHexagons"/>
    <dgm:cxn modelId="{61C46836-A3E7-4271-906E-A11ED3C25138}" type="presParOf" srcId="{7BEA146B-2ADD-4C4E-B65E-C7584DE2332C}" destId="{A293F861-5B90-4389-925D-0F7128AA6A69}" srcOrd="5" destOrd="0" presId="urn:microsoft.com/office/officeart/2008/layout/AlternatingHexagons"/>
    <dgm:cxn modelId="{6CBCCE74-2975-4709-9512-3098204315D2}" type="presParOf" srcId="{7BEA146B-2ADD-4C4E-B65E-C7584DE2332C}" destId="{3F0A0347-9F31-4D95-8C49-768A41A81CF7}" srcOrd="6" destOrd="0" presId="urn:microsoft.com/office/officeart/2008/layout/AlternatingHexagons"/>
    <dgm:cxn modelId="{B5B6D57A-E9A4-47DF-AAE9-F35AFFFA333C}" type="presParOf" srcId="{3F0A0347-9F31-4D95-8C49-768A41A81CF7}" destId="{6F3C85A6-C527-441A-A52E-982AFA8CBB02}" srcOrd="0" destOrd="0" presId="urn:microsoft.com/office/officeart/2008/layout/AlternatingHexagons"/>
    <dgm:cxn modelId="{6DF9E6C2-72D3-48B3-8D0B-75896B324BBB}" type="presParOf" srcId="{3F0A0347-9F31-4D95-8C49-768A41A81CF7}" destId="{C5FEE662-56E9-4573-AA5F-E6ADBDCF969B}" srcOrd="1" destOrd="0" presId="urn:microsoft.com/office/officeart/2008/layout/AlternatingHexagons"/>
    <dgm:cxn modelId="{3A3C9872-7D3C-419A-AAD0-BE92A7114EA0}" type="presParOf" srcId="{3F0A0347-9F31-4D95-8C49-768A41A81CF7}" destId="{F627F411-F907-444E-9681-A587C0109759}" srcOrd="2" destOrd="0" presId="urn:microsoft.com/office/officeart/2008/layout/AlternatingHexagons"/>
    <dgm:cxn modelId="{6B670546-D088-4A10-B3FA-BFBF73009C39}" type="presParOf" srcId="{3F0A0347-9F31-4D95-8C49-768A41A81CF7}" destId="{7D431561-F116-4B23-BCD6-CD9F9F1053D4}" srcOrd="3" destOrd="0" presId="urn:microsoft.com/office/officeart/2008/layout/AlternatingHexagons"/>
    <dgm:cxn modelId="{9BFCC59A-16A7-4E5A-A1F8-4BC445C62272}" type="presParOf" srcId="{3F0A0347-9F31-4D95-8C49-768A41A81CF7}" destId="{5E8DEEEE-7FB2-4A31-8935-A50AF0223FA6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56F153E-D0EE-4FC9-B141-CB38E30EA1B6}" type="doc">
      <dgm:prSet loTypeId="urn:microsoft.com/office/officeart/2008/layout/AlternatingHexagons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698E4E6-1AFA-4C0B-A490-8E1E69DE2C4A}">
      <dgm:prSet phldrT="[Text]"/>
      <dgm:spPr/>
      <dgm:t>
        <a:bodyPr/>
        <a:lstStyle/>
        <a:p>
          <a:endParaRPr lang="en-US"/>
        </a:p>
      </dgm:t>
    </dgm:pt>
    <dgm:pt modelId="{BA79A1C5-9AB2-4C32-8BD0-9A1B4190103C}" type="parTrans" cxnId="{12BB72C6-E5A7-4DC1-97B2-6E461FD891FA}">
      <dgm:prSet/>
      <dgm:spPr/>
      <dgm:t>
        <a:bodyPr/>
        <a:lstStyle/>
        <a:p>
          <a:endParaRPr lang="en-US"/>
        </a:p>
      </dgm:t>
    </dgm:pt>
    <dgm:pt modelId="{9FEEDA48-09C3-4F11-95D9-6CFCF6434B05}" type="sibTrans" cxnId="{12BB72C6-E5A7-4DC1-97B2-6E461FD891FA}">
      <dgm:prSet/>
      <dgm:spPr/>
      <dgm:t>
        <a:bodyPr/>
        <a:lstStyle/>
        <a:p>
          <a:endParaRPr lang="en-US"/>
        </a:p>
      </dgm:t>
    </dgm:pt>
    <dgm:pt modelId="{698DC553-73F8-47AC-8D16-0884C95167C8}">
      <dgm:prSet phldrT="[Text]"/>
      <dgm:spPr/>
      <dgm:t>
        <a:bodyPr/>
        <a:lstStyle/>
        <a:p>
          <a:endParaRPr lang="en-US"/>
        </a:p>
      </dgm:t>
    </dgm:pt>
    <dgm:pt modelId="{10D1E4AC-697C-4CD1-9100-E4112A7DC9B7}" type="parTrans" cxnId="{BB7C072D-908A-4D0A-9BFA-27AC5E1419DE}">
      <dgm:prSet/>
      <dgm:spPr/>
      <dgm:t>
        <a:bodyPr/>
        <a:lstStyle/>
        <a:p>
          <a:endParaRPr lang="en-US"/>
        </a:p>
      </dgm:t>
    </dgm:pt>
    <dgm:pt modelId="{DD053DB6-927B-40BE-9492-44C852E4C91B}" type="sibTrans" cxnId="{BB7C072D-908A-4D0A-9BFA-27AC5E1419DE}">
      <dgm:prSet/>
      <dgm:spPr/>
      <dgm:t>
        <a:bodyPr/>
        <a:lstStyle/>
        <a:p>
          <a:endParaRPr lang="en-US"/>
        </a:p>
      </dgm:t>
    </dgm:pt>
    <dgm:pt modelId="{D43209A5-755D-4076-9111-C31FCAD3D6EF}">
      <dgm:prSet phldrT="[Text]"/>
      <dgm:spPr/>
      <dgm:t>
        <a:bodyPr/>
        <a:lstStyle/>
        <a:p>
          <a:endParaRPr lang="en-US"/>
        </a:p>
      </dgm:t>
    </dgm:pt>
    <dgm:pt modelId="{8C7CD384-0DF9-4FFF-8A8C-15209A98A0DD}" type="parTrans" cxnId="{1D3FABD8-33D0-4535-927A-1759C4442105}">
      <dgm:prSet/>
      <dgm:spPr/>
      <dgm:t>
        <a:bodyPr/>
        <a:lstStyle/>
        <a:p>
          <a:endParaRPr lang="en-US"/>
        </a:p>
      </dgm:t>
    </dgm:pt>
    <dgm:pt modelId="{D7FCE136-3578-4F01-86CC-36E30D96F9CE}" type="sibTrans" cxnId="{1D3FABD8-33D0-4535-927A-1759C4442105}">
      <dgm:prSet/>
      <dgm:spPr/>
      <dgm:t>
        <a:bodyPr/>
        <a:lstStyle/>
        <a:p>
          <a:endParaRPr lang="en-US"/>
        </a:p>
      </dgm:t>
    </dgm:pt>
    <dgm:pt modelId="{B9D44366-A466-4BAD-AEDD-9CA1F8700A5B}">
      <dgm:prSet phldrT="[Text]"/>
      <dgm:spPr/>
      <dgm:t>
        <a:bodyPr/>
        <a:lstStyle/>
        <a:p>
          <a:endParaRPr lang="en-US"/>
        </a:p>
      </dgm:t>
    </dgm:pt>
    <dgm:pt modelId="{837AFA23-364D-4679-92A8-459069168E43}" type="parTrans" cxnId="{A8912FBB-A35C-4BED-B957-34F7B9706D20}">
      <dgm:prSet/>
      <dgm:spPr/>
      <dgm:t>
        <a:bodyPr/>
        <a:lstStyle/>
        <a:p>
          <a:endParaRPr lang="en-US"/>
        </a:p>
      </dgm:t>
    </dgm:pt>
    <dgm:pt modelId="{2A8B1128-6E39-4E34-B47C-D560817EB253}" type="sibTrans" cxnId="{A8912FBB-A35C-4BED-B957-34F7B9706D20}">
      <dgm:prSet/>
      <dgm:spPr/>
      <dgm:t>
        <a:bodyPr/>
        <a:lstStyle/>
        <a:p>
          <a:endParaRPr lang="en-US"/>
        </a:p>
      </dgm:t>
    </dgm:pt>
    <dgm:pt modelId="{7BEA146B-2ADD-4C4E-B65E-C7584DE2332C}" type="pres">
      <dgm:prSet presAssocID="{056F153E-D0EE-4FC9-B141-CB38E30EA1B6}" presName="Name0" presStyleCnt="0">
        <dgm:presLayoutVars>
          <dgm:chMax/>
          <dgm:chPref/>
          <dgm:dir/>
          <dgm:animLvl val="lvl"/>
        </dgm:presLayoutVars>
      </dgm:prSet>
      <dgm:spPr/>
    </dgm:pt>
    <dgm:pt modelId="{FC25D5B4-0B98-4145-A7D6-CFACD448247D}" type="pres">
      <dgm:prSet presAssocID="{C698E4E6-1AFA-4C0B-A490-8E1E69DE2C4A}" presName="composite" presStyleCnt="0"/>
      <dgm:spPr/>
    </dgm:pt>
    <dgm:pt modelId="{BAEBFB10-5133-4C67-907D-244F31C44845}" type="pres">
      <dgm:prSet presAssocID="{C698E4E6-1AFA-4C0B-A490-8E1E69DE2C4A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</dgm:pt>
    <dgm:pt modelId="{E462BAD0-31BD-43BE-B581-65FF33DC6CA1}" type="pres">
      <dgm:prSet presAssocID="{C698E4E6-1AFA-4C0B-A490-8E1E69DE2C4A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7BD96A00-8DC4-42C4-991A-059AACA4B63C}" type="pres">
      <dgm:prSet presAssocID="{C698E4E6-1AFA-4C0B-A490-8E1E69DE2C4A}" presName="BalanceSpacing" presStyleCnt="0"/>
      <dgm:spPr/>
    </dgm:pt>
    <dgm:pt modelId="{6B0923F5-62F7-4C86-9226-90B741FA8E25}" type="pres">
      <dgm:prSet presAssocID="{C698E4E6-1AFA-4C0B-A490-8E1E69DE2C4A}" presName="BalanceSpacing1" presStyleCnt="0"/>
      <dgm:spPr/>
    </dgm:pt>
    <dgm:pt modelId="{4B6F72D3-DE70-4C59-A1B9-474724F019CB}" type="pres">
      <dgm:prSet presAssocID="{9FEEDA48-09C3-4F11-95D9-6CFCF6434B05}" presName="Accent1Text" presStyleLbl="node1" presStyleIdx="1" presStyleCnt="8" custLinFactX="100000" custLinFactY="68508" custLinFactNeighborX="119824" custLinFactNeighborY="100000"/>
      <dgm:spPr/>
    </dgm:pt>
    <dgm:pt modelId="{D05C47B0-57FE-4B35-9A41-DD8053B49D58}" type="pres">
      <dgm:prSet presAssocID="{9FEEDA48-09C3-4F11-95D9-6CFCF6434B05}" presName="spaceBetweenRectangles" presStyleCnt="0"/>
      <dgm:spPr/>
    </dgm:pt>
    <dgm:pt modelId="{869C6B7D-E56E-46F2-95E7-6330C7FEAA26}" type="pres">
      <dgm:prSet presAssocID="{698DC553-73F8-47AC-8D16-0884C95167C8}" presName="composite" presStyleCnt="0"/>
      <dgm:spPr/>
    </dgm:pt>
    <dgm:pt modelId="{85A9EE54-5937-4FA5-91BD-77FD333B5C9E}" type="pres">
      <dgm:prSet presAssocID="{698DC553-73F8-47AC-8D16-0884C95167C8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</dgm:pt>
    <dgm:pt modelId="{28C443F8-9F39-43C3-BE16-8E6E0EA63866}" type="pres">
      <dgm:prSet presAssocID="{698DC553-73F8-47AC-8D16-0884C95167C8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96884E10-9CF4-43BB-A8E4-CA346E76C2A5}" type="pres">
      <dgm:prSet presAssocID="{698DC553-73F8-47AC-8D16-0884C95167C8}" presName="BalanceSpacing" presStyleCnt="0"/>
      <dgm:spPr/>
    </dgm:pt>
    <dgm:pt modelId="{FF8E4BA2-0AB2-4DCD-899C-24B253AF88E2}" type="pres">
      <dgm:prSet presAssocID="{698DC553-73F8-47AC-8D16-0884C95167C8}" presName="BalanceSpacing1" presStyleCnt="0"/>
      <dgm:spPr/>
    </dgm:pt>
    <dgm:pt modelId="{FACF5FCD-F56E-4246-BFFA-1E848F6263F2}" type="pres">
      <dgm:prSet presAssocID="{DD053DB6-927B-40BE-9492-44C852E4C91B}" presName="Accent1Text" presStyleLbl="node1" presStyleIdx="3" presStyleCnt="8"/>
      <dgm:spPr/>
    </dgm:pt>
    <dgm:pt modelId="{568BADD4-FE54-4C4A-ADF0-583EABC66F61}" type="pres">
      <dgm:prSet presAssocID="{DD053DB6-927B-40BE-9492-44C852E4C91B}" presName="spaceBetweenRectangles" presStyleCnt="0"/>
      <dgm:spPr/>
    </dgm:pt>
    <dgm:pt modelId="{1C1CE0D5-E799-4F59-BC1C-A6BB5B654771}" type="pres">
      <dgm:prSet presAssocID="{D43209A5-755D-4076-9111-C31FCAD3D6EF}" presName="composite" presStyleCnt="0"/>
      <dgm:spPr/>
    </dgm:pt>
    <dgm:pt modelId="{C203983C-6041-4913-BC88-EDFBCF05ECBF}" type="pres">
      <dgm:prSet presAssocID="{D43209A5-755D-4076-9111-C31FCAD3D6EF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480C0239-2810-40C1-B458-4B7D42E015B7}" type="pres">
      <dgm:prSet presAssocID="{D43209A5-755D-4076-9111-C31FCAD3D6EF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053D5CDB-6017-40A1-B452-FC0971BC1348}" type="pres">
      <dgm:prSet presAssocID="{D43209A5-755D-4076-9111-C31FCAD3D6EF}" presName="BalanceSpacing" presStyleCnt="0"/>
      <dgm:spPr/>
    </dgm:pt>
    <dgm:pt modelId="{6C1B2EF6-EDF1-4126-95CA-64D8035F8D37}" type="pres">
      <dgm:prSet presAssocID="{D43209A5-755D-4076-9111-C31FCAD3D6EF}" presName="BalanceSpacing1" presStyleCnt="0"/>
      <dgm:spPr/>
    </dgm:pt>
    <dgm:pt modelId="{7ABCFDA6-F3AE-4BB9-A3AF-AB988AA276F0}" type="pres">
      <dgm:prSet presAssocID="{D7FCE136-3578-4F01-86CC-36E30D96F9CE}" presName="Accent1Text" presStyleLbl="node1" presStyleIdx="5" presStyleCnt="8"/>
      <dgm:spPr/>
    </dgm:pt>
    <dgm:pt modelId="{A293F861-5B90-4389-925D-0F7128AA6A69}" type="pres">
      <dgm:prSet presAssocID="{D7FCE136-3578-4F01-86CC-36E30D96F9CE}" presName="spaceBetweenRectangles" presStyleCnt="0"/>
      <dgm:spPr/>
    </dgm:pt>
    <dgm:pt modelId="{3F0A0347-9F31-4D95-8C49-768A41A81CF7}" type="pres">
      <dgm:prSet presAssocID="{B9D44366-A466-4BAD-AEDD-9CA1F8700A5B}" presName="composite" presStyleCnt="0"/>
      <dgm:spPr/>
    </dgm:pt>
    <dgm:pt modelId="{6F3C85A6-C527-441A-A52E-982AFA8CBB02}" type="pres">
      <dgm:prSet presAssocID="{B9D44366-A466-4BAD-AEDD-9CA1F8700A5B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</dgm:pt>
    <dgm:pt modelId="{C5FEE662-56E9-4573-AA5F-E6ADBDCF969B}" type="pres">
      <dgm:prSet presAssocID="{B9D44366-A466-4BAD-AEDD-9CA1F8700A5B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F627F411-F907-444E-9681-A587C0109759}" type="pres">
      <dgm:prSet presAssocID="{B9D44366-A466-4BAD-AEDD-9CA1F8700A5B}" presName="BalanceSpacing" presStyleCnt="0"/>
      <dgm:spPr/>
    </dgm:pt>
    <dgm:pt modelId="{7D431561-F116-4B23-BCD6-CD9F9F1053D4}" type="pres">
      <dgm:prSet presAssocID="{B9D44366-A466-4BAD-AEDD-9CA1F8700A5B}" presName="BalanceSpacing1" presStyleCnt="0"/>
      <dgm:spPr/>
    </dgm:pt>
    <dgm:pt modelId="{5E8DEEEE-7FB2-4A31-8935-A50AF0223FA6}" type="pres">
      <dgm:prSet presAssocID="{2A8B1128-6E39-4E34-B47C-D560817EB253}" presName="Accent1Text" presStyleLbl="node1" presStyleIdx="7" presStyleCnt="8"/>
      <dgm:spPr/>
    </dgm:pt>
  </dgm:ptLst>
  <dgm:cxnLst>
    <dgm:cxn modelId="{47E39902-DB0E-416F-9F44-FB0177C9C300}" type="presOf" srcId="{056F153E-D0EE-4FC9-B141-CB38E30EA1B6}" destId="{7BEA146B-2ADD-4C4E-B65E-C7584DE2332C}" srcOrd="0" destOrd="0" presId="urn:microsoft.com/office/officeart/2008/layout/AlternatingHexagons"/>
    <dgm:cxn modelId="{29C9EE0A-9D14-4070-A6F5-7240479EDB71}" type="presOf" srcId="{2A8B1128-6E39-4E34-B47C-D560817EB253}" destId="{5E8DEEEE-7FB2-4A31-8935-A50AF0223FA6}" srcOrd="0" destOrd="0" presId="urn:microsoft.com/office/officeart/2008/layout/AlternatingHexagons"/>
    <dgm:cxn modelId="{BB7C072D-908A-4D0A-9BFA-27AC5E1419DE}" srcId="{056F153E-D0EE-4FC9-B141-CB38E30EA1B6}" destId="{698DC553-73F8-47AC-8D16-0884C95167C8}" srcOrd="1" destOrd="0" parTransId="{10D1E4AC-697C-4CD1-9100-E4112A7DC9B7}" sibTransId="{DD053DB6-927B-40BE-9492-44C852E4C91B}"/>
    <dgm:cxn modelId="{922FF536-D607-4FD0-8938-CC6EEA3F8BD3}" type="presOf" srcId="{DD053DB6-927B-40BE-9492-44C852E4C91B}" destId="{FACF5FCD-F56E-4246-BFFA-1E848F6263F2}" srcOrd="0" destOrd="0" presId="urn:microsoft.com/office/officeart/2008/layout/AlternatingHexagons"/>
    <dgm:cxn modelId="{E9C20137-3499-4A88-B39C-DA9DA854FAC4}" type="presOf" srcId="{698DC553-73F8-47AC-8D16-0884C95167C8}" destId="{85A9EE54-5937-4FA5-91BD-77FD333B5C9E}" srcOrd="0" destOrd="0" presId="urn:microsoft.com/office/officeart/2008/layout/AlternatingHexagons"/>
    <dgm:cxn modelId="{F881293F-ADFE-4082-A5F5-F782B7CB5E56}" type="presOf" srcId="{D43209A5-755D-4076-9111-C31FCAD3D6EF}" destId="{C203983C-6041-4913-BC88-EDFBCF05ECBF}" srcOrd="0" destOrd="0" presId="urn:microsoft.com/office/officeart/2008/layout/AlternatingHexagons"/>
    <dgm:cxn modelId="{FD22126E-110B-4527-9FF8-A56A9CA28973}" type="presOf" srcId="{B9D44366-A466-4BAD-AEDD-9CA1F8700A5B}" destId="{6F3C85A6-C527-441A-A52E-982AFA8CBB02}" srcOrd="0" destOrd="0" presId="urn:microsoft.com/office/officeart/2008/layout/AlternatingHexagons"/>
    <dgm:cxn modelId="{59938F95-7C3A-4B74-B851-A7C49848337F}" type="presOf" srcId="{C698E4E6-1AFA-4C0B-A490-8E1E69DE2C4A}" destId="{BAEBFB10-5133-4C67-907D-244F31C44845}" srcOrd="0" destOrd="0" presId="urn:microsoft.com/office/officeart/2008/layout/AlternatingHexagons"/>
    <dgm:cxn modelId="{3A2463A9-E6B4-46E1-94DE-6135EB068139}" type="presOf" srcId="{D7FCE136-3578-4F01-86CC-36E30D96F9CE}" destId="{7ABCFDA6-F3AE-4BB9-A3AF-AB988AA276F0}" srcOrd="0" destOrd="0" presId="urn:microsoft.com/office/officeart/2008/layout/AlternatingHexagons"/>
    <dgm:cxn modelId="{A8912FBB-A35C-4BED-B957-34F7B9706D20}" srcId="{056F153E-D0EE-4FC9-B141-CB38E30EA1B6}" destId="{B9D44366-A466-4BAD-AEDD-9CA1F8700A5B}" srcOrd="3" destOrd="0" parTransId="{837AFA23-364D-4679-92A8-459069168E43}" sibTransId="{2A8B1128-6E39-4E34-B47C-D560817EB253}"/>
    <dgm:cxn modelId="{12BB72C6-E5A7-4DC1-97B2-6E461FD891FA}" srcId="{056F153E-D0EE-4FC9-B141-CB38E30EA1B6}" destId="{C698E4E6-1AFA-4C0B-A490-8E1E69DE2C4A}" srcOrd="0" destOrd="0" parTransId="{BA79A1C5-9AB2-4C32-8BD0-9A1B4190103C}" sibTransId="{9FEEDA48-09C3-4F11-95D9-6CFCF6434B05}"/>
    <dgm:cxn modelId="{1D3FABD8-33D0-4535-927A-1759C4442105}" srcId="{056F153E-D0EE-4FC9-B141-CB38E30EA1B6}" destId="{D43209A5-755D-4076-9111-C31FCAD3D6EF}" srcOrd="2" destOrd="0" parTransId="{8C7CD384-0DF9-4FFF-8A8C-15209A98A0DD}" sibTransId="{D7FCE136-3578-4F01-86CC-36E30D96F9CE}"/>
    <dgm:cxn modelId="{DCDEAED9-3C4E-4A4E-AB73-A06DCAFE3DE9}" type="presOf" srcId="{9FEEDA48-09C3-4F11-95D9-6CFCF6434B05}" destId="{4B6F72D3-DE70-4C59-A1B9-474724F019CB}" srcOrd="0" destOrd="0" presId="urn:microsoft.com/office/officeart/2008/layout/AlternatingHexagons"/>
    <dgm:cxn modelId="{5595DD72-5F11-409F-AD01-011F14615EB8}" type="presParOf" srcId="{7BEA146B-2ADD-4C4E-B65E-C7584DE2332C}" destId="{FC25D5B4-0B98-4145-A7D6-CFACD448247D}" srcOrd="0" destOrd="0" presId="urn:microsoft.com/office/officeart/2008/layout/AlternatingHexagons"/>
    <dgm:cxn modelId="{4E8905A7-F18C-4A4C-812B-5EF14B72153B}" type="presParOf" srcId="{FC25D5B4-0B98-4145-A7D6-CFACD448247D}" destId="{BAEBFB10-5133-4C67-907D-244F31C44845}" srcOrd="0" destOrd="0" presId="urn:microsoft.com/office/officeart/2008/layout/AlternatingHexagons"/>
    <dgm:cxn modelId="{FD3AD603-2B5B-4300-9B36-CE5BDFE96001}" type="presParOf" srcId="{FC25D5B4-0B98-4145-A7D6-CFACD448247D}" destId="{E462BAD0-31BD-43BE-B581-65FF33DC6CA1}" srcOrd="1" destOrd="0" presId="urn:microsoft.com/office/officeart/2008/layout/AlternatingHexagons"/>
    <dgm:cxn modelId="{A501E56B-813D-4615-ACE2-36248D1C48EA}" type="presParOf" srcId="{FC25D5B4-0B98-4145-A7D6-CFACD448247D}" destId="{7BD96A00-8DC4-42C4-991A-059AACA4B63C}" srcOrd="2" destOrd="0" presId="urn:microsoft.com/office/officeart/2008/layout/AlternatingHexagons"/>
    <dgm:cxn modelId="{AD436197-ED9D-46C4-97CF-F62C28210C9F}" type="presParOf" srcId="{FC25D5B4-0B98-4145-A7D6-CFACD448247D}" destId="{6B0923F5-62F7-4C86-9226-90B741FA8E25}" srcOrd="3" destOrd="0" presId="urn:microsoft.com/office/officeart/2008/layout/AlternatingHexagons"/>
    <dgm:cxn modelId="{8C5DB0BA-C646-4BDD-95CE-FB2A2020106A}" type="presParOf" srcId="{FC25D5B4-0B98-4145-A7D6-CFACD448247D}" destId="{4B6F72D3-DE70-4C59-A1B9-474724F019CB}" srcOrd="4" destOrd="0" presId="urn:microsoft.com/office/officeart/2008/layout/AlternatingHexagons"/>
    <dgm:cxn modelId="{F9424846-3DDF-4FED-A943-51547F24E87F}" type="presParOf" srcId="{7BEA146B-2ADD-4C4E-B65E-C7584DE2332C}" destId="{D05C47B0-57FE-4B35-9A41-DD8053B49D58}" srcOrd="1" destOrd="0" presId="urn:microsoft.com/office/officeart/2008/layout/AlternatingHexagons"/>
    <dgm:cxn modelId="{998E123D-D86C-4CAF-B740-BB77069BF56F}" type="presParOf" srcId="{7BEA146B-2ADD-4C4E-B65E-C7584DE2332C}" destId="{869C6B7D-E56E-46F2-95E7-6330C7FEAA26}" srcOrd="2" destOrd="0" presId="urn:microsoft.com/office/officeart/2008/layout/AlternatingHexagons"/>
    <dgm:cxn modelId="{BFCC1AE4-1253-4CD4-B8B1-52E8B570F368}" type="presParOf" srcId="{869C6B7D-E56E-46F2-95E7-6330C7FEAA26}" destId="{85A9EE54-5937-4FA5-91BD-77FD333B5C9E}" srcOrd="0" destOrd="0" presId="urn:microsoft.com/office/officeart/2008/layout/AlternatingHexagons"/>
    <dgm:cxn modelId="{E6713139-9F71-44FE-BADA-9307F2A00461}" type="presParOf" srcId="{869C6B7D-E56E-46F2-95E7-6330C7FEAA26}" destId="{28C443F8-9F39-43C3-BE16-8E6E0EA63866}" srcOrd="1" destOrd="0" presId="urn:microsoft.com/office/officeart/2008/layout/AlternatingHexagons"/>
    <dgm:cxn modelId="{663B8081-72EE-4ECC-AAD5-1B5AFBAA9F78}" type="presParOf" srcId="{869C6B7D-E56E-46F2-95E7-6330C7FEAA26}" destId="{96884E10-9CF4-43BB-A8E4-CA346E76C2A5}" srcOrd="2" destOrd="0" presId="urn:microsoft.com/office/officeart/2008/layout/AlternatingHexagons"/>
    <dgm:cxn modelId="{820DFE7D-B7ED-4240-81CE-4EBAFD95E32E}" type="presParOf" srcId="{869C6B7D-E56E-46F2-95E7-6330C7FEAA26}" destId="{FF8E4BA2-0AB2-4DCD-899C-24B253AF88E2}" srcOrd="3" destOrd="0" presId="urn:microsoft.com/office/officeart/2008/layout/AlternatingHexagons"/>
    <dgm:cxn modelId="{00CE6813-CD45-4590-8BD5-91B3EA2DF8FA}" type="presParOf" srcId="{869C6B7D-E56E-46F2-95E7-6330C7FEAA26}" destId="{FACF5FCD-F56E-4246-BFFA-1E848F6263F2}" srcOrd="4" destOrd="0" presId="urn:microsoft.com/office/officeart/2008/layout/AlternatingHexagons"/>
    <dgm:cxn modelId="{F8650424-D040-4238-A440-5C90D559B0EC}" type="presParOf" srcId="{7BEA146B-2ADD-4C4E-B65E-C7584DE2332C}" destId="{568BADD4-FE54-4C4A-ADF0-583EABC66F61}" srcOrd="3" destOrd="0" presId="urn:microsoft.com/office/officeart/2008/layout/AlternatingHexagons"/>
    <dgm:cxn modelId="{CC98E23F-B740-42E7-9DAA-4596A4FB3DEC}" type="presParOf" srcId="{7BEA146B-2ADD-4C4E-B65E-C7584DE2332C}" destId="{1C1CE0D5-E799-4F59-BC1C-A6BB5B654771}" srcOrd="4" destOrd="0" presId="urn:microsoft.com/office/officeart/2008/layout/AlternatingHexagons"/>
    <dgm:cxn modelId="{FED7231E-89B5-48DF-88E3-410FCFC3D433}" type="presParOf" srcId="{1C1CE0D5-E799-4F59-BC1C-A6BB5B654771}" destId="{C203983C-6041-4913-BC88-EDFBCF05ECBF}" srcOrd="0" destOrd="0" presId="urn:microsoft.com/office/officeart/2008/layout/AlternatingHexagons"/>
    <dgm:cxn modelId="{5B68A0D7-0A08-4133-A2B0-1937A1725253}" type="presParOf" srcId="{1C1CE0D5-E799-4F59-BC1C-A6BB5B654771}" destId="{480C0239-2810-40C1-B458-4B7D42E015B7}" srcOrd="1" destOrd="0" presId="urn:microsoft.com/office/officeart/2008/layout/AlternatingHexagons"/>
    <dgm:cxn modelId="{C675FF6C-EEEB-4C3B-B871-F7E01268B197}" type="presParOf" srcId="{1C1CE0D5-E799-4F59-BC1C-A6BB5B654771}" destId="{053D5CDB-6017-40A1-B452-FC0971BC1348}" srcOrd="2" destOrd="0" presId="urn:microsoft.com/office/officeart/2008/layout/AlternatingHexagons"/>
    <dgm:cxn modelId="{B30E3EBB-17B5-4433-A5D7-0C2CAD715635}" type="presParOf" srcId="{1C1CE0D5-E799-4F59-BC1C-A6BB5B654771}" destId="{6C1B2EF6-EDF1-4126-95CA-64D8035F8D37}" srcOrd="3" destOrd="0" presId="urn:microsoft.com/office/officeart/2008/layout/AlternatingHexagons"/>
    <dgm:cxn modelId="{6C6773D4-F560-410F-9431-3B3321794252}" type="presParOf" srcId="{1C1CE0D5-E799-4F59-BC1C-A6BB5B654771}" destId="{7ABCFDA6-F3AE-4BB9-A3AF-AB988AA276F0}" srcOrd="4" destOrd="0" presId="urn:microsoft.com/office/officeart/2008/layout/AlternatingHexagons"/>
    <dgm:cxn modelId="{61C46836-A3E7-4271-906E-A11ED3C25138}" type="presParOf" srcId="{7BEA146B-2ADD-4C4E-B65E-C7584DE2332C}" destId="{A293F861-5B90-4389-925D-0F7128AA6A69}" srcOrd="5" destOrd="0" presId="urn:microsoft.com/office/officeart/2008/layout/AlternatingHexagons"/>
    <dgm:cxn modelId="{6CBCCE74-2975-4709-9512-3098204315D2}" type="presParOf" srcId="{7BEA146B-2ADD-4C4E-B65E-C7584DE2332C}" destId="{3F0A0347-9F31-4D95-8C49-768A41A81CF7}" srcOrd="6" destOrd="0" presId="urn:microsoft.com/office/officeart/2008/layout/AlternatingHexagons"/>
    <dgm:cxn modelId="{B5B6D57A-E9A4-47DF-AAE9-F35AFFFA333C}" type="presParOf" srcId="{3F0A0347-9F31-4D95-8C49-768A41A81CF7}" destId="{6F3C85A6-C527-441A-A52E-982AFA8CBB02}" srcOrd="0" destOrd="0" presId="urn:microsoft.com/office/officeart/2008/layout/AlternatingHexagons"/>
    <dgm:cxn modelId="{6DF9E6C2-72D3-48B3-8D0B-75896B324BBB}" type="presParOf" srcId="{3F0A0347-9F31-4D95-8C49-768A41A81CF7}" destId="{C5FEE662-56E9-4573-AA5F-E6ADBDCF969B}" srcOrd="1" destOrd="0" presId="urn:microsoft.com/office/officeart/2008/layout/AlternatingHexagons"/>
    <dgm:cxn modelId="{3A3C9872-7D3C-419A-AAD0-BE92A7114EA0}" type="presParOf" srcId="{3F0A0347-9F31-4D95-8C49-768A41A81CF7}" destId="{F627F411-F907-444E-9681-A587C0109759}" srcOrd="2" destOrd="0" presId="urn:microsoft.com/office/officeart/2008/layout/AlternatingHexagons"/>
    <dgm:cxn modelId="{6B670546-D088-4A10-B3FA-BFBF73009C39}" type="presParOf" srcId="{3F0A0347-9F31-4D95-8C49-768A41A81CF7}" destId="{7D431561-F116-4B23-BCD6-CD9F9F1053D4}" srcOrd="3" destOrd="0" presId="urn:microsoft.com/office/officeart/2008/layout/AlternatingHexagons"/>
    <dgm:cxn modelId="{9BFCC59A-16A7-4E5A-A1F8-4BC445C62272}" type="presParOf" srcId="{3F0A0347-9F31-4D95-8C49-768A41A81CF7}" destId="{5E8DEEEE-7FB2-4A31-8935-A50AF0223FA6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56F153E-D0EE-4FC9-B141-CB38E30EA1B6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98E4E6-1AFA-4C0B-A490-8E1E69DE2C4A}">
      <dgm:prSet phldrT="[Text]"/>
      <dgm:spPr/>
      <dgm:t>
        <a:bodyPr/>
        <a:lstStyle/>
        <a:p>
          <a:endParaRPr lang="en-US"/>
        </a:p>
      </dgm:t>
    </dgm:pt>
    <dgm:pt modelId="{BA79A1C5-9AB2-4C32-8BD0-9A1B4190103C}" type="parTrans" cxnId="{12BB72C6-E5A7-4DC1-97B2-6E461FD891FA}">
      <dgm:prSet/>
      <dgm:spPr/>
      <dgm:t>
        <a:bodyPr/>
        <a:lstStyle/>
        <a:p>
          <a:endParaRPr lang="en-US"/>
        </a:p>
      </dgm:t>
    </dgm:pt>
    <dgm:pt modelId="{9FEEDA48-09C3-4F11-95D9-6CFCF6434B05}" type="sibTrans" cxnId="{12BB72C6-E5A7-4DC1-97B2-6E461FD891FA}">
      <dgm:prSet/>
      <dgm:spPr/>
      <dgm:t>
        <a:bodyPr/>
        <a:lstStyle/>
        <a:p>
          <a:endParaRPr lang="en-US"/>
        </a:p>
      </dgm:t>
    </dgm:pt>
    <dgm:pt modelId="{698DC553-73F8-47AC-8D16-0884C95167C8}">
      <dgm:prSet phldrT="[Text]"/>
      <dgm:spPr/>
      <dgm:t>
        <a:bodyPr/>
        <a:lstStyle/>
        <a:p>
          <a:endParaRPr lang="en-US"/>
        </a:p>
      </dgm:t>
    </dgm:pt>
    <dgm:pt modelId="{10D1E4AC-697C-4CD1-9100-E4112A7DC9B7}" type="parTrans" cxnId="{BB7C072D-908A-4D0A-9BFA-27AC5E1419DE}">
      <dgm:prSet/>
      <dgm:spPr/>
      <dgm:t>
        <a:bodyPr/>
        <a:lstStyle/>
        <a:p>
          <a:endParaRPr lang="en-US"/>
        </a:p>
      </dgm:t>
    </dgm:pt>
    <dgm:pt modelId="{DD053DB6-927B-40BE-9492-44C852E4C91B}" type="sibTrans" cxnId="{BB7C072D-908A-4D0A-9BFA-27AC5E1419DE}">
      <dgm:prSet/>
      <dgm:spPr/>
      <dgm:t>
        <a:bodyPr/>
        <a:lstStyle/>
        <a:p>
          <a:endParaRPr lang="en-US"/>
        </a:p>
      </dgm:t>
    </dgm:pt>
    <dgm:pt modelId="{D43209A5-755D-4076-9111-C31FCAD3D6EF}">
      <dgm:prSet phldrT="[Text]"/>
      <dgm:spPr/>
      <dgm:t>
        <a:bodyPr/>
        <a:lstStyle/>
        <a:p>
          <a:endParaRPr lang="en-US"/>
        </a:p>
      </dgm:t>
    </dgm:pt>
    <dgm:pt modelId="{D7FCE136-3578-4F01-86CC-36E30D96F9CE}" type="sibTrans" cxnId="{1D3FABD8-33D0-4535-927A-1759C4442105}">
      <dgm:prSet/>
      <dgm:spPr/>
      <dgm:t>
        <a:bodyPr/>
        <a:lstStyle/>
        <a:p>
          <a:endParaRPr lang="en-US"/>
        </a:p>
      </dgm:t>
    </dgm:pt>
    <dgm:pt modelId="{8C7CD384-0DF9-4FFF-8A8C-15209A98A0DD}" type="parTrans" cxnId="{1D3FABD8-33D0-4535-927A-1759C4442105}">
      <dgm:prSet/>
      <dgm:spPr/>
      <dgm:t>
        <a:bodyPr/>
        <a:lstStyle/>
        <a:p>
          <a:endParaRPr lang="en-US"/>
        </a:p>
      </dgm:t>
    </dgm:pt>
    <dgm:pt modelId="{7BEA146B-2ADD-4C4E-B65E-C7584DE2332C}" type="pres">
      <dgm:prSet presAssocID="{056F153E-D0EE-4FC9-B141-CB38E30EA1B6}" presName="Name0" presStyleCnt="0">
        <dgm:presLayoutVars>
          <dgm:chMax/>
          <dgm:chPref/>
          <dgm:dir/>
          <dgm:animLvl val="lvl"/>
        </dgm:presLayoutVars>
      </dgm:prSet>
      <dgm:spPr/>
    </dgm:pt>
    <dgm:pt modelId="{FC25D5B4-0B98-4145-A7D6-CFACD448247D}" type="pres">
      <dgm:prSet presAssocID="{C698E4E6-1AFA-4C0B-A490-8E1E69DE2C4A}" presName="composite" presStyleCnt="0"/>
      <dgm:spPr/>
    </dgm:pt>
    <dgm:pt modelId="{BAEBFB10-5133-4C67-907D-244F31C44845}" type="pres">
      <dgm:prSet presAssocID="{C698E4E6-1AFA-4C0B-A490-8E1E69DE2C4A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E462BAD0-31BD-43BE-B581-65FF33DC6CA1}" type="pres">
      <dgm:prSet presAssocID="{C698E4E6-1AFA-4C0B-A490-8E1E69DE2C4A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7BD96A00-8DC4-42C4-991A-059AACA4B63C}" type="pres">
      <dgm:prSet presAssocID="{C698E4E6-1AFA-4C0B-A490-8E1E69DE2C4A}" presName="BalanceSpacing" presStyleCnt="0"/>
      <dgm:spPr/>
    </dgm:pt>
    <dgm:pt modelId="{6B0923F5-62F7-4C86-9226-90B741FA8E25}" type="pres">
      <dgm:prSet presAssocID="{C698E4E6-1AFA-4C0B-A490-8E1E69DE2C4A}" presName="BalanceSpacing1" presStyleCnt="0"/>
      <dgm:spPr/>
    </dgm:pt>
    <dgm:pt modelId="{4B6F72D3-DE70-4C59-A1B9-474724F019CB}" type="pres">
      <dgm:prSet presAssocID="{9FEEDA48-09C3-4F11-95D9-6CFCF6434B05}" presName="Accent1Text" presStyleLbl="node1" presStyleIdx="1" presStyleCnt="6"/>
      <dgm:spPr/>
    </dgm:pt>
    <dgm:pt modelId="{D05C47B0-57FE-4B35-9A41-DD8053B49D58}" type="pres">
      <dgm:prSet presAssocID="{9FEEDA48-09C3-4F11-95D9-6CFCF6434B05}" presName="spaceBetweenRectangles" presStyleCnt="0"/>
      <dgm:spPr/>
    </dgm:pt>
    <dgm:pt modelId="{869C6B7D-E56E-46F2-95E7-6330C7FEAA26}" type="pres">
      <dgm:prSet presAssocID="{698DC553-73F8-47AC-8D16-0884C95167C8}" presName="composite" presStyleCnt="0"/>
      <dgm:spPr/>
    </dgm:pt>
    <dgm:pt modelId="{85A9EE54-5937-4FA5-91BD-77FD333B5C9E}" type="pres">
      <dgm:prSet presAssocID="{698DC553-73F8-47AC-8D16-0884C95167C8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28C443F8-9F39-43C3-BE16-8E6E0EA63866}" type="pres">
      <dgm:prSet presAssocID="{698DC553-73F8-47AC-8D16-0884C95167C8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96884E10-9CF4-43BB-A8E4-CA346E76C2A5}" type="pres">
      <dgm:prSet presAssocID="{698DC553-73F8-47AC-8D16-0884C95167C8}" presName="BalanceSpacing" presStyleCnt="0"/>
      <dgm:spPr/>
    </dgm:pt>
    <dgm:pt modelId="{FF8E4BA2-0AB2-4DCD-899C-24B253AF88E2}" type="pres">
      <dgm:prSet presAssocID="{698DC553-73F8-47AC-8D16-0884C95167C8}" presName="BalanceSpacing1" presStyleCnt="0"/>
      <dgm:spPr/>
    </dgm:pt>
    <dgm:pt modelId="{FACF5FCD-F56E-4246-BFFA-1E848F6263F2}" type="pres">
      <dgm:prSet presAssocID="{DD053DB6-927B-40BE-9492-44C852E4C91B}" presName="Accent1Text" presStyleLbl="node1" presStyleIdx="3" presStyleCnt="6"/>
      <dgm:spPr/>
    </dgm:pt>
    <dgm:pt modelId="{568BADD4-FE54-4C4A-ADF0-583EABC66F61}" type="pres">
      <dgm:prSet presAssocID="{DD053DB6-927B-40BE-9492-44C852E4C91B}" presName="spaceBetweenRectangles" presStyleCnt="0"/>
      <dgm:spPr/>
    </dgm:pt>
    <dgm:pt modelId="{1C1CE0D5-E799-4F59-BC1C-A6BB5B654771}" type="pres">
      <dgm:prSet presAssocID="{D43209A5-755D-4076-9111-C31FCAD3D6EF}" presName="composite" presStyleCnt="0"/>
      <dgm:spPr/>
    </dgm:pt>
    <dgm:pt modelId="{C203983C-6041-4913-BC88-EDFBCF05ECBF}" type="pres">
      <dgm:prSet presAssocID="{D43209A5-755D-4076-9111-C31FCAD3D6E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480C0239-2810-40C1-B458-4B7D42E015B7}" type="pres">
      <dgm:prSet presAssocID="{D43209A5-755D-4076-9111-C31FCAD3D6E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053D5CDB-6017-40A1-B452-FC0971BC1348}" type="pres">
      <dgm:prSet presAssocID="{D43209A5-755D-4076-9111-C31FCAD3D6EF}" presName="BalanceSpacing" presStyleCnt="0"/>
      <dgm:spPr/>
    </dgm:pt>
    <dgm:pt modelId="{6C1B2EF6-EDF1-4126-95CA-64D8035F8D37}" type="pres">
      <dgm:prSet presAssocID="{D43209A5-755D-4076-9111-C31FCAD3D6EF}" presName="BalanceSpacing1" presStyleCnt="0"/>
      <dgm:spPr/>
    </dgm:pt>
    <dgm:pt modelId="{7ABCFDA6-F3AE-4BB9-A3AF-AB988AA276F0}" type="pres">
      <dgm:prSet presAssocID="{D7FCE136-3578-4F01-86CC-36E30D96F9CE}" presName="Accent1Text" presStyleLbl="node1" presStyleIdx="5" presStyleCnt="6"/>
      <dgm:spPr/>
    </dgm:pt>
  </dgm:ptLst>
  <dgm:cxnLst>
    <dgm:cxn modelId="{47E39902-DB0E-416F-9F44-FB0177C9C300}" type="presOf" srcId="{056F153E-D0EE-4FC9-B141-CB38E30EA1B6}" destId="{7BEA146B-2ADD-4C4E-B65E-C7584DE2332C}" srcOrd="0" destOrd="0" presId="urn:microsoft.com/office/officeart/2008/layout/AlternatingHexagons"/>
    <dgm:cxn modelId="{BB7C072D-908A-4D0A-9BFA-27AC5E1419DE}" srcId="{056F153E-D0EE-4FC9-B141-CB38E30EA1B6}" destId="{698DC553-73F8-47AC-8D16-0884C95167C8}" srcOrd="1" destOrd="0" parTransId="{10D1E4AC-697C-4CD1-9100-E4112A7DC9B7}" sibTransId="{DD053DB6-927B-40BE-9492-44C852E4C91B}"/>
    <dgm:cxn modelId="{922FF536-D607-4FD0-8938-CC6EEA3F8BD3}" type="presOf" srcId="{DD053DB6-927B-40BE-9492-44C852E4C91B}" destId="{FACF5FCD-F56E-4246-BFFA-1E848F6263F2}" srcOrd="0" destOrd="0" presId="urn:microsoft.com/office/officeart/2008/layout/AlternatingHexagons"/>
    <dgm:cxn modelId="{E9C20137-3499-4A88-B39C-DA9DA854FAC4}" type="presOf" srcId="{698DC553-73F8-47AC-8D16-0884C95167C8}" destId="{85A9EE54-5937-4FA5-91BD-77FD333B5C9E}" srcOrd="0" destOrd="0" presId="urn:microsoft.com/office/officeart/2008/layout/AlternatingHexagons"/>
    <dgm:cxn modelId="{F881293F-ADFE-4082-A5F5-F782B7CB5E56}" type="presOf" srcId="{D43209A5-755D-4076-9111-C31FCAD3D6EF}" destId="{C203983C-6041-4913-BC88-EDFBCF05ECBF}" srcOrd="0" destOrd="0" presId="urn:microsoft.com/office/officeart/2008/layout/AlternatingHexagons"/>
    <dgm:cxn modelId="{59938F95-7C3A-4B74-B851-A7C49848337F}" type="presOf" srcId="{C698E4E6-1AFA-4C0B-A490-8E1E69DE2C4A}" destId="{BAEBFB10-5133-4C67-907D-244F31C44845}" srcOrd="0" destOrd="0" presId="urn:microsoft.com/office/officeart/2008/layout/AlternatingHexagons"/>
    <dgm:cxn modelId="{3A2463A9-E6B4-46E1-94DE-6135EB068139}" type="presOf" srcId="{D7FCE136-3578-4F01-86CC-36E30D96F9CE}" destId="{7ABCFDA6-F3AE-4BB9-A3AF-AB988AA276F0}" srcOrd="0" destOrd="0" presId="urn:microsoft.com/office/officeart/2008/layout/AlternatingHexagons"/>
    <dgm:cxn modelId="{12BB72C6-E5A7-4DC1-97B2-6E461FD891FA}" srcId="{056F153E-D0EE-4FC9-B141-CB38E30EA1B6}" destId="{C698E4E6-1AFA-4C0B-A490-8E1E69DE2C4A}" srcOrd="0" destOrd="0" parTransId="{BA79A1C5-9AB2-4C32-8BD0-9A1B4190103C}" sibTransId="{9FEEDA48-09C3-4F11-95D9-6CFCF6434B05}"/>
    <dgm:cxn modelId="{1D3FABD8-33D0-4535-927A-1759C4442105}" srcId="{056F153E-D0EE-4FC9-B141-CB38E30EA1B6}" destId="{D43209A5-755D-4076-9111-C31FCAD3D6EF}" srcOrd="2" destOrd="0" parTransId="{8C7CD384-0DF9-4FFF-8A8C-15209A98A0DD}" sibTransId="{D7FCE136-3578-4F01-86CC-36E30D96F9CE}"/>
    <dgm:cxn modelId="{DCDEAED9-3C4E-4A4E-AB73-A06DCAFE3DE9}" type="presOf" srcId="{9FEEDA48-09C3-4F11-95D9-6CFCF6434B05}" destId="{4B6F72D3-DE70-4C59-A1B9-474724F019CB}" srcOrd="0" destOrd="0" presId="urn:microsoft.com/office/officeart/2008/layout/AlternatingHexagons"/>
    <dgm:cxn modelId="{5595DD72-5F11-409F-AD01-011F14615EB8}" type="presParOf" srcId="{7BEA146B-2ADD-4C4E-B65E-C7584DE2332C}" destId="{FC25D5B4-0B98-4145-A7D6-CFACD448247D}" srcOrd="0" destOrd="0" presId="urn:microsoft.com/office/officeart/2008/layout/AlternatingHexagons"/>
    <dgm:cxn modelId="{4E8905A7-F18C-4A4C-812B-5EF14B72153B}" type="presParOf" srcId="{FC25D5B4-0B98-4145-A7D6-CFACD448247D}" destId="{BAEBFB10-5133-4C67-907D-244F31C44845}" srcOrd="0" destOrd="0" presId="urn:microsoft.com/office/officeart/2008/layout/AlternatingHexagons"/>
    <dgm:cxn modelId="{FD3AD603-2B5B-4300-9B36-CE5BDFE96001}" type="presParOf" srcId="{FC25D5B4-0B98-4145-A7D6-CFACD448247D}" destId="{E462BAD0-31BD-43BE-B581-65FF33DC6CA1}" srcOrd="1" destOrd="0" presId="urn:microsoft.com/office/officeart/2008/layout/AlternatingHexagons"/>
    <dgm:cxn modelId="{A501E56B-813D-4615-ACE2-36248D1C48EA}" type="presParOf" srcId="{FC25D5B4-0B98-4145-A7D6-CFACD448247D}" destId="{7BD96A00-8DC4-42C4-991A-059AACA4B63C}" srcOrd="2" destOrd="0" presId="urn:microsoft.com/office/officeart/2008/layout/AlternatingHexagons"/>
    <dgm:cxn modelId="{AD436197-ED9D-46C4-97CF-F62C28210C9F}" type="presParOf" srcId="{FC25D5B4-0B98-4145-A7D6-CFACD448247D}" destId="{6B0923F5-62F7-4C86-9226-90B741FA8E25}" srcOrd="3" destOrd="0" presId="urn:microsoft.com/office/officeart/2008/layout/AlternatingHexagons"/>
    <dgm:cxn modelId="{8C5DB0BA-C646-4BDD-95CE-FB2A2020106A}" type="presParOf" srcId="{FC25D5B4-0B98-4145-A7D6-CFACD448247D}" destId="{4B6F72D3-DE70-4C59-A1B9-474724F019CB}" srcOrd="4" destOrd="0" presId="urn:microsoft.com/office/officeart/2008/layout/AlternatingHexagons"/>
    <dgm:cxn modelId="{F9424846-3DDF-4FED-A943-51547F24E87F}" type="presParOf" srcId="{7BEA146B-2ADD-4C4E-B65E-C7584DE2332C}" destId="{D05C47B0-57FE-4B35-9A41-DD8053B49D58}" srcOrd="1" destOrd="0" presId="urn:microsoft.com/office/officeart/2008/layout/AlternatingHexagons"/>
    <dgm:cxn modelId="{998E123D-D86C-4CAF-B740-BB77069BF56F}" type="presParOf" srcId="{7BEA146B-2ADD-4C4E-B65E-C7584DE2332C}" destId="{869C6B7D-E56E-46F2-95E7-6330C7FEAA26}" srcOrd="2" destOrd="0" presId="urn:microsoft.com/office/officeart/2008/layout/AlternatingHexagons"/>
    <dgm:cxn modelId="{BFCC1AE4-1253-4CD4-B8B1-52E8B570F368}" type="presParOf" srcId="{869C6B7D-E56E-46F2-95E7-6330C7FEAA26}" destId="{85A9EE54-5937-4FA5-91BD-77FD333B5C9E}" srcOrd="0" destOrd="0" presId="urn:microsoft.com/office/officeart/2008/layout/AlternatingHexagons"/>
    <dgm:cxn modelId="{E6713139-9F71-44FE-BADA-9307F2A00461}" type="presParOf" srcId="{869C6B7D-E56E-46F2-95E7-6330C7FEAA26}" destId="{28C443F8-9F39-43C3-BE16-8E6E0EA63866}" srcOrd="1" destOrd="0" presId="urn:microsoft.com/office/officeart/2008/layout/AlternatingHexagons"/>
    <dgm:cxn modelId="{663B8081-72EE-4ECC-AAD5-1B5AFBAA9F78}" type="presParOf" srcId="{869C6B7D-E56E-46F2-95E7-6330C7FEAA26}" destId="{96884E10-9CF4-43BB-A8E4-CA346E76C2A5}" srcOrd="2" destOrd="0" presId="urn:microsoft.com/office/officeart/2008/layout/AlternatingHexagons"/>
    <dgm:cxn modelId="{820DFE7D-B7ED-4240-81CE-4EBAFD95E32E}" type="presParOf" srcId="{869C6B7D-E56E-46F2-95E7-6330C7FEAA26}" destId="{FF8E4BA2-0AB2-4DCD-899C-24B253AF88E2}" srcOrd="3" destOrd="0" presId="urn:microsoft.com/office/officeart/2008/layout/AlternatingHexagons"/>
    <dgm:cxn modelId="{00CE6813-CD45-4590-8BD5-91B3EA2DF8FA}" type="presParOf" srcId="{869C6B7D-E56E-46F2-95E7-6330C7FEAA26}" destId="{FACF5FCD-F56E-4246-BFFA-1E848F6263F2}" srcOrd="4" destOrd="0" presId="urn:microsoft.com/office/officeart/2008/layout/AlternatingHexagons"/>
    <dgm:cxn modelId="{F8650424-D040-4238-A440-5C90D559B0EC}" type="presParOf" srcId="{7BEA146B-2ADD-4C4E-B65E-C7584DE2332C}" destId="{568BADD4-FE54-4C4A-ADF0-583EABC66F61}" srcOrd="3" destOrd="0" presId="urn:microsoft.com/office/officeart/2008/layout/AlternatingHexagons"/>
    <dgm:cxn modelId="{CC98E23F-B740-42E7-9DAA-4596A4FB3DEC}" type="presParOf" srcId="{7BEA146B-2ADD-4C4E-B65E-C7584DE2332C}" destId="{1C1CE0D5-E799-4F59-BC1C-A6BB5B654771}" srcOrd="4" destOrd="0" presId="urn:microsoft.com/office/officeart/2008/layout/AlternatingHexagons"/>
    <dgm:cxn modelId="{FED7231E-89B5-48DF-88E3-410FCFC3D433}" type="presParOf" srcId="{1C1CE0D5-E799-4F59-BC1C-A6BB5B654771}" destId="{C203983C-6041-4913-BC88-EDFBCF05ECBF}" srcOrd="0" destOrd="0" presId="urn:microsoft.com/office/officeart/2008/layout/AlternatingHexagons"/>
    <dgm:cxn modelId="{5B68A0D7-0A08-4133-A2B0-1937A1725253}" type="presParOf" srcId="{1C1CE0D5-E799-4F59-BC1C-A6BB5B654771}" destId="{480C0239-2810-40C1-B458-4B7D42E015B7}" srcOrd="1" destOrd="0" presId="urn:microsoft.com/office/officeart/2008/layout/AlternatingHexagons"/>
    <dgm:cxn modelId="{C675FF6C-EEEB-4C3B-B871-F7E01268B197}" type="presParOf" srcId="{1C1CE0D5-E799-4F59-BC1C-A6BB5B654771}" destId="{053D5CDB-6017-40A1-B452-FC0971BC1348}" srcOrd="2" destOrd="0" presId="urn:microsoft.com/office/officeart/2008/layout/AlternatingHexagons"/>
    <dgm:cxn modelId="{B30E3EBB-17B5-4433-A5D7-0C2CAD715635}" type="presParOf" srcId="{1C1CE0D5-E799-4F59-BC1C-A6BB5B654771}" destId="{6C1B2EF6-EDF1-4126-95CA-64D8035F8D37}" srcOrd="3" destOrd="0" presId="urn:microsoft.com/office/officeart/2008/layout/AlternatingHexagons"/>
    <dgm:cxn modelId="{6C6773D4-F560-410F-9431-3B3321794252}" type="presParOf" srcId="{1C1CE0D5-E799-4F59-BC1C-A6BB5B654771}" destId="{7ABCFDA6-F3AE-4BB9-A3AF-AB988AA276F0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EBFB10-5133-4C67-907D-244F31C44845}">
      <dsp:nvSpPr>
        <dsp:cNvPr id="0" name=""/>
        <dsp:cNvSpPr/>
      </dsp:nvSpPr>
      <dsp:spPr>
        <a:xfrm rot="5400000">
          <a:off x="2247059" y="51285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 rot="-5400000">
        <a:off x="2400101" y="120592"/>
        <a:ext cx="456930" cy="525208"/>
      </dsp:txXfrm>
    </dsp:sp>
    <dsp:sp modelId="{E462BAD0-31BD-43BE-B581-65FF33DC6CA1}">
      <dsp:nvSpPr>
        <dsp:cNvPr id="0" name=""/>
        <dsp:cNvSpPr/>
      </dsp:nvSpPr>
      <dsp:spPr>
        <a:xfrm>
          <a:off x="2980621" y="154292"/>
          <a:ext cx="851523" cy="457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6F72D3-DE70-4C59-A1B9-474724F019CB}">
      <dsp:nvSpPr>
        <dsp:cNvPr id="0" name=""/>
        <dsp:cNvSpPr/>
      </dsp:nvSpPr>
      <dsp:spPr>
        <a:xfrm rot="5400000">
          <a:off x="1530131" y="51285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683173" y="120592"/>
        <a:ext cx="456930" cy="525208"/>
      </dsp:txXfrm>
    </dsp:sp>
    <dsp:sp modelId="{85A9EE54-5937-4FA5-91BD-77FD333B5C9E}">
      <dsp:nvSpPr>
        <dsp:cNvPr id="0" name=""/>
        <dsp:cNvSpPr/>
      </dsp:nvSpPr>
      <dsp:spPr>
        <a:xfrm rot="5400000">
          <a:off x="1887222" y="698932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 rot="-5400000">
        <a:off x="2040264" y="768239"/>
        <a:ext cx="456930" cy="525208"/>
      </dsp:txXfrm>
    </dsp:sp>
    <dsp:sp modelId="{28C443F8-9F39-43C3-BE16-8E6E0EA63866}">
      <dsp:nvSpPr>
        <dsp:cNvPr id="0" name=""/>
        <dsp:cNvSpPr/>
      </dsp:nvSpPr>
      <dsp:spPr>
        <a:xfrm>
          <a:off x="1085294" y="801938"/>
          <a:ext cx="824055" cy="457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F5FCD-F56E-4246-BFFA-1E848F6263F2}">
      <dsp:nvSpPr>
        <dsp:cNvPr id="0" name=""/>
        <dsp:cNvSpPr/>
      </dsp:nvSpPr>
      <dsp:spPr>
        <a:xfrm rot="5400000">
          <a:off x="2604150" y="698932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2757192" y="768239"/>
        <a:ext cx="456930" cy="525208"/>
      </dsp:txXfrm>
    </dsp:sp>
    <dsp:sp modelId="{C203983C-6041-4913-BC88-EDFBCF05ECBF}">
      <dsp:nvSpPr>
        <dsp:cNvPr id="0" name=""/>
        <dsp:cNvSpPr/>
      </dsp:nvSpPr>
      <dsp:spPr>
        <a:xfrm rot="5400000">
          <a:off x="2247059" y="1346578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 rot="-5400000">
        <a:off x="2400101" y="1415885"/>
        <a:ext cx="456930" cy="525208"/>
      </dsp:txXfrm>
    </dsp:sp>
    <dsp:sp modelId="{480C0239-2810-40C1-B458-4B7D42E015B7}">
      <dsp:nvSpPr>
        <dsp:cNvPr id="0" name=""/>
        <dsp:cNvSpPr/>
      </dsp:nvSpPr>
      <dsp:spPr>
        <a:xfrm>
          <a:off x="2980621" y="1449585"/>
          <a:ext cx="851523" cy="457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BCFDA6-F3AE-4BB9-A3AF-AB988AA276F0}">
      <dsp:nvSpPr>
        <dsp:cNvPr id="0" name=""/>
        <dsp:cNvSpPr/>
      </dsp:nvSpPr>
      <dsp:spPr>
        <a:xfrm rot="5400000">
          <a:off x="1530131" y="1346578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683173" y="1415885"/>
        <a:ext cx="456930" cy="525208"/>
      </dsp:txXfrm>
    </dsp:sp>
    <dsp:sp modelId="{6F3C85A6-C527-441A-A52E-982AFA8CBB02}">
      <dsp:nvSpPr>
        <dsp:cNvPr id="0" name=""/>
        <dsp:cNvSpPr/>
      </dsp:nvSpPr>
      <dsp:spPr>
        <a:xfrm rot="5400000">
          <a:off x="1887222" y="1994225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 rot="-5400000">
        <a:off x="2040264" y="2063532"/>
        <a:ext cx="456930" cy="525208"/>
      </dsp:txXfrm>
    </dsp:sp>
    <dsp:sp modelId="{C5FEE662-56E9-4573-AA5F-E6ADBDCF969B}">
      <dsp:nvSpPr>
        <dsp:cNvPr id="0" name=""/>
        <dsp:cNvSpPr/>
      </dsp:nvSpPr>
      <dsp:spPr>
        <a:xfrm>
          <a:off x="1085294" y="2097231"/>
          <a:ext cx="824055" cy="457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8DEEEE-7FB2-4A31-8935-A50AF0223FA6}">
      <dsp:nvSpPr>
        <dsp:cNvPr id="0" name=""/>
        <dsp:cNvSpPr/>
      </dsp:nvSpPr>
      <dsp:spPr>
        <a:xfrm rot="5400000">
          <a:off x="2604150" y="1994225"/>
          <a:ext cx="763014" cy="663822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2757192" y="2063532"/>
        <a:ext cx="456930" cy="5252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EBFB10-5133-4C67-907D-244F31C44845}">
      <dsp:nvSpPr>
        <dsp:cNvPr id="0" name=""/>
        <dsp:cNvSpPr/>
      </dsp:nvSpPr>
      <dsp:spPr>
        <a:xfrm rot="5400000">
          <a:off x="1310421" y="30748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-5400000">
        <a:off x="1403784" y="73029"/>
        <a:ext cx="278751" cy="320403"/>
      </dsp:txXfrm>
    </dsp:sp>
    <dsp:sp modelId="{E462BAD0-31BD-43BE-B581-65FF33DC6CA1}">
      <dsp:nvSpPr>
        <dsp:cNvPr id="0" name=""/>
        <dsp:cNvSpPr/>
      </dsp:nvSpPr>
      <dsp:spPr>
        <a:xfrm>
          <a:off x="1757931" y="93587"/>
          <a:ext cx="519473" cy="2792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6F72D3-DE70-4C59-A1B9-474724F019CB}">
      <dsp:nvSpPr>
        <dsp:cNvPr id="0" name=""/>
        <dsp:cNvSpPr/>
      </dsp:nvSpPr>
      <dsp:spPr>
        <a:xfrm rot="5400000">
          <a:off x="1763270" y="815115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 rot="-5400000">
        <a:off x="1856633" y="857396"/>
        <a:ext cx="278751" cy="320403"/>
      </dsp:txXfrm>
    </dsp:sp>
    <dsp:sp modelId="{85A9EE54-5937-4FA5-91BD-77FD333B5C9E}">
      <dsp:nvSpPr>
        <dsp:cNvPr id="0" name=""/>
        <dsp:cNvSpPr/>
      </dsp:nvSpPr>
      <dsp:spPr>
        <a:xfrm rot="5400000">
          <a:off x="1090902" y="425845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-5400000">
        <a:off x="1184265" y="468126"/>
        <a:ext cx="278751" cy="320403"/>
      </dsp:txXfrm>
    </dsp:sp>
    <dsp:sp modelId="{28C443F8-9F39-43C3-BE16-8E6E0EA63866}">
      <dsp:nvSpPr>
        <dsp:cNvPr id="0" name=""/>
        <dsp:cNvSpPr/>
      </dsp:nvSpPr>
      <dsp:spPr>
        <a:xfrm>
          <a:off x="601684" y="488685"/>
          <a:ext cx="502716" cy="2792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F5FCD-F56E-4246-BFFA-1E848F6263F2}">
      <dsp:nvSpPr>
        <dsp:cNvPr id="0" name=""/>
        <dsp:cNvSpPr/>
      </dsp:nvSpPr>
      <dsp:spPr>
        <a:xfrm rot="5400000">
          <a:off x="1528265" y="425845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 rot="-5400000">
        <a:off x="1621628" y="468126"/>
        <a:ext cx="278751" cy="320403"/>
      </dsp:txXfrm>
    </dsp:sp>
    <dsp:sp modelId="{C203983C-6041-4913-BC88-EDFBCF05ECBF}">
      <dsp:nvSpPr>
        <dsp:cNvPr id="0" name=""/>
        <dsp:cNvSpPr/>
      </dsp:nvSpPr>
      <dsp:spPr>
        <a:xfrm rot="5400000">
          <a:off x="1310421" y="820943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-5400000">
        <a:off x="1403784" y="863224"/>
        <a:ext cx="278751" cy="320403"/>
      </dsp:txXfrm>
    </dsp:sp>
    <dsp:sp modelId="{480C0239-2810-40C1-B458-4B7D42E015B7}">
      <dsp:nvSpPr>
        <dsp:cNvPr id="0" name=""/>
        <dsp:cNvSpPr/>
      </dsp:nvSpPr>
      <dsp:spPr>
        <a:xfrm>
          <a:off x="1757931" y="883782"/>
          <a:ext cx="519473" cy="2792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BCFDA6-F3AE-4BB9-A3AF-AB988AA276F0}">
      <dsp:nvSpPr>
        <dsp:cNvPr id="0" name=""/>
        <dsp:cNvSpPr/>
      </dsp:nvSpPr>
      <dsp:spPr>
        <a:xfrm rot="5400000">
          <a:off x="873058" y="820943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 rot="-5400000">
        <a:off x="966421" y="863224"/>
        <a:ext cx="278751" cy="320403"/>
      </dsp:txXfrm>
    </dsp:sp>
    <dsp:sp modelId="{6F3C85A6-C527-441A-A52E-982AFA8CBB02}">
      <dsp:nvSpPr>
        <dsp:cNvPr id="0" name=""/>
        <dsp:cNvSpPr/>
      </dsp:nvSpPr>
      <dsp:spPr>
        <a:xfrm rot="5400000">
          <a:off x="1090902" y="1216041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-5400000">
        <a:off x="1184265" y="1258322"/>
        <a:ext cx="278751" cy="320403"/>
      </dsp:txXfrm>
    </dsp:sp>
    <dsp:sp modelId="{C5FEE662-56E9-4573-AA5F-E6ADBDCF969B}">
      <dsp:nvSpPr>
        <dsp:cNvPr id="0" name=""/>
        <dsp:cNvSpPr/>
      </dsp:nvSpPr>
      <dsp:spPr>
        <a:xfrm>
          <a:off x="601684" y="1278880"/>
          <a:ext cx="502716" cy="2792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8DEEEE-7FB2-4A31-8935-A50AF0223FA6}">
      <dsp:nvSpPr>
        <dsp:cNvPr id="0" name=""/>
        <dsp:cNvSpPr/>
      </dsp:nvSpPr>
      <dsp:spPr>
        <a:xfrm rot="5400000">
          <a:off x="1528265" y="1216041"/>
          <a:ext cx="465477" cy="404965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</dsp:txBody>
      <dsp:txXfrm rot="-5400000">
        <a:off x="1621628" y="1258322"/>
        <a:ext cx="278751" cy="3204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EBFB10-5133-4C67-907D-244F31C44845}">
      <dsp:nvSpPr>
        <dsp:cNvPr id="0" name=""/>
        <dsp:cNvSpPr/>
      </dsp:nvSpPr>
      <dsp:spPr>
        <a:xfrm rot="5400000">
          <a:off x="839441" y="20667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901904" y="48955"/>
        <a:ext cx="186495" cy="214362"/>
      </dsp:txXfrm>
    </dsp:sp>
    <dsp:sp modelId="{E462BAD0-31BD-43BE-B581-65FF33DC6CA1}">
      <dsp:nvSpPr>
        <dsp:cNvPr id="0" name=""/>
        <dsp:cNvSpPr/>
      </dsp:nvSpPr>
      <dsp:spPr>
        <a:xfrm>
          <a:off x="1138843" y="62709"/>
          <a:ext cx="347547" cy="1868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6F72D3-DE70-4C59-A1B9-474724F019CB}">
      <dsp:nvSpPr>
        <dsp:cNvPr id="0" name=""/>
        <dsp:cNvSpPr/>
      </dsp:nvSpPr>
      <dsp:spPr>
        <a:xfrm rot="5400000">
          <a:off x="1142414" y="545439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-5400000">
        <a:off x="1204877" y="573727"/>
        <a:ext cx="186495" cy="214362"/>
      </dsp:txXfrm>
    </dsp:sp>
    <dsp:sp modelId="{85A9EE54-5937-4FA5-91BD-77FD333B5C9E}">
      <dsp:nvSpPr>
        <dsp:cNvPr id="0" name=""/>
        <dsp:cNvSpPr/>
      </dsp:nvSpPr>
      <dsp:spPr>
        <a:xfrm rot="5400000">
          <a:off x="692574" y="285003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755037" y="313291"/>
        <a:ext cx="186495" cy="214362"/>
      </dsp:txXfrm>
    </dsp:sp>
    <dsp:sp modelId="{28C443F8-9F39-43C3-BE16-8E6E0EA63866}">
      <dsp:nvSpPr>
        <dsp:cNvPr id="0" name=""/>
        <dsp:cNvSpPr/>
      </dsp:nvSpPr>
      <dsp:spPr>
        <a:xfrm>
          <a:off x="365268" y="327045"/>
          <a:ext cx="336336" cy="1868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F5FCD-F56E-4246-BFFA-1E848F6263F2}">
      <dsp:nvSpPr>
        <dsp:cNvPr id="0" name=""/>
        <dsp:cNvSpPr/>
      </dsp:nvSpPr>
      <dsp:spPr>
        <a:xfrm rot="5400000">
          <a:off x="985187" y="285003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-5400000">
        <a:off x="1047650" y="313291"/>
        <a:ext cx="186495" cy="214362"/>
      </dsp:txXfrm>
    </dsp:sp>
    <dsp:sp modelId="{C203983C-6041-4913-BC88-EDFBCF05ECBF}">
      <dsp:nvSpPr>
        <dsp:cNvPr id="0" name=""/>
        <dsp:cNvSpPr/>
      </dsp:nvSpPr>
      <dsp:spPr>
        <a:xfrm rot="5400000">
          <a:off x="839441" y="549338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901904" y="577626"/>
        <a:ext cx="186495" cy="214362"/>
      </dsp:txXfrm>
    </dsp:sp>
    <dsp:sp modelId="{480C0239-2810-40C1-B458-4B7D42E015B7}">
      <dsp:nvSpPr>
        <dsp:cNvPr id="0" name=""/>
        <dsp:cNvSpPr/>
      </dsp:nvSpPr>
      <dsp:spPr>
        <a:xfrm>
          <a:off x="1138843" y="591381"/>
          <a:ext cx="347547" cy="1868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BCFDA6-F3AE-4BB9-A3AF-AB988AA276F0}">
      <dsp:nvSpPr>
        <dsp:cNvPr id="0" name=""/>
        <dsp:cNvSpPr/>
      </dsp:nvSpPr>
      <dsp:spPr>
        <a:xfrm rot="5400000">
          <a:off x="546828" y="549338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-5400000">
        <a:off x="609291" y="577626"/>
        <a:ext cx="186495" cy="214362"/>
      </dsp:txXfrm>
    </dsp:sp>
    <dsp:sp modelId="{6F3C85A6-C527-441A-A52E-982AFA8CBB02}">
      <dsp:nvSpPr>
        <dsp:cNvPr id="0" name=""/>
        <dsp:cNvSpPr/>
      </dsp:nvSpPr>
      <dsp:spPr>
        <a:xfrm rot="5400000">
          <a:off x="692574" y="813674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755037" y="841962"/>
        <a:ext cx="186495" cy="214362"/>
      </dsp:txXfrm>
    </dsp:sp>
    <dsp:sp modelId="{C5FEE662-56E9-4573-AA5F-E6ADBDCF969B}">
      <dsp:nvSpPr>
        <dsp:cNvPr id="0" name=""/>
        <dsp:cNvSpPr/>
      </dsp:nvSpPr>
      <dsp:spPr>
        <a:xfrm>
          <a:off x="365268" y="855716"/>
          <a:ext cx="336336" cy="1868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8DEEEE-7FB2-4A31-8935-A50AF0223FA6}">
      <dsp:nvSpPr>
        <dsp:cNvPr id="0" name=""/>
        <dsp:cNvSpPr/>
      </dsp:nvSpPr>
      <dsp:spPr>
        <a:xfrm rot="5400000">
          <a:off x="985187" y="813674"/>
          <a:ext cx="311422" cy="270937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-5400000">
        <a:off x="1047650" y="841962"/>
        <a:ext cx="186495" cy="2143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EBFB10-5133-4C67-907D-244F31C44845}">
      <dsp:nvSpPr>
        <dsp:cNvPr id="0" name=""/>
        <dsp:cNvSpPr/>
      </dsp:nvSpPr>
      <dsp:spPr>
        <a:xfrm rot="5400000">
          <a:off x="2180453" y="66856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 rot="-5400000">
        <a:off x="2381654" y="157973"/>
        <a:ext cx="600721" cy="690483"/>
      </dsp:txXfrm>
    </dsp:sp>
    <dsp:sp modelId="{E462BAD0-31BD-43BE-B581-65FF33DC6CA1}">
      <dsp:nvSpPr>
        <dsp:cNvPr id="0" name=""/>
        <dsp:cNvSpPr/>
      </dsp:nvSpPr>
      <dsp:spPr>
        <a:xfrm>
          <a:off x="3144856" y="202278"/>
          <a:ext cx="1119485" cy="6018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6F72D3-DE70-4C59-A1B9-474724F019CB}">
      <dsp:nvSpPr>
        <dsp:cNvPr id="0" name=""/>
        <dsp:cNvSpPr/>
      </dsp:nvSpPr>
      <dsp:spPr>
        <a:xfrm rot="5400000">
          <a:off x="1237918" y="66856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439119" y="157973"/>
        <a:ext cx="600721" cy="690483"/>
      </dsp:txXfrm>
    </dsp:sp>
    <dsp:sp modelId="{85A9EE54-5937-4FA5-91BD-77FD333B5C9E}">
      <dsp:nvSpPr>
        <dsp:cNvPr id="0" name=""/>
        <dsp:cNvSpPr/>
      </dsp:nvSpPr>
      <dsp:spPr>
        <a:xfrm rot="5400000">
          <a:off x="1707380" y="918307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 rot="-5400000">
        <a:off x="1908581" y="1009424"/>
        <a:ext cx="600721" cy="690483"/>
      </dsp:txXfrm>
    </dsp:sp>
    <dsp:sp modelId="{28C443F8-9F39-43C3-BE16-8E6E0EA63866}">
      <dsp:nvSpPr>
        <dsp:cNvPr id="0" name=""/>
        <dsp:cNvSpPr/>
      </dsp:nvSpPr>
      <dsp:spPr>
        <a:xfrm>
          <a:off x="653097" y="1053729"/>
          <a:ext cx="1083373" cy="6018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F5FCD-F56E-4246-BFFA-1E848F6263F2}">
      <dsp:nvSpPr>
        <dsp:cNvPr id="0" name=""/>
        <dsp:cNvSpPr/>
      </dsp:nvSpPr>
      <dsp:spPr>
        <a:xfrm rot="5400000">
          <a:off x="2649915" y="918307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2851116" y="1009424"/>
        <a:ext cx="600721" cy="690483"/>
      </dsp:txXfrm>
    </dsp:sp>
    <dsp:sp modelId="{C203983C-6041-4913-BC88-EDFBCF05ECBF}">
      <dsp:nvSpPr>
        <dsp:cNvPr id="0" name=""/>
        <dsp:cNvSpPr/>
      </dsp:nvSpPr>
      <dsp:spPr>
        <a:xfrm rot="5400000">
          <a:off x="2180453" y="1769759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 rot="-5400000">
        <a:off x="2381654" y="1860876"/>
        <a:ext cx="600721" cy="690483"/>
      </dsp:txXfrm>
    </dsp:sp>
    <dsp:sp modelId="{480C0239-2810-40C1-B458-4B7D42E015B7}">
      <dsp:nvSpPr>
        <dsp:cNvPr id="0" name=""/>
        <dsp:cNvSpPr/>
      </dsp:nvSpPr>
      <dsp:spPr>
        <a:xfrm>
          <a:off x="3144856" y="1905180"/>
          <a:ext cx="1119485" cy="6018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BCFDA6-F3AE-4BB9-A3AF-AB988AA276F0}">
      <dsp:nvSpPr>
        <dsp:cNvPr id="0" name=""/>
        <dsp:cNvSpPr/>
      </dsp:nvSpPr>
      <dsp:spPr>
        <a:xfrm rot="5400000">
          <a:off x="1237918" y="1769759"/>
          <a:ext cx="1003123" cy="87271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439119" y="1860876"/>
        <a:ext cx="600721" cy="6904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A2C8468-7851-45ED-8B45-445763ACCF39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0" y="3379866"/>
            <a:ext cx="7447280" cy="2765346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7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7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C11A7FD2-1163-43D3-A1A5-B05D6BF27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083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69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50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01D7B-EF05-F885-3064-24A028D9E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4143D5-E046-04D7-D3D0-F904D1758B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4972EC-1421-C2B3-CFC3-ED8A96336C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12580A-3A41-BEA3-D817-27744EEFC4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41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988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472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5788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422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82405-7C1B-917E-B000-32DB177310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6AD830-57C9-19BB-02D2-6635E8000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E2C03D-4480-070D-BA6F-855B7FF338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https://www.t-mobile.com/coverage/satellite-phone-service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719EBA-3B7D-EE9B-A5B5-F5F0661EA8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A7FD2-1163-43D3-A1A5-B05D6BF2788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47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01-1 - Cover - White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8488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1200" b="0" i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562445" y="2550732"/>
            <a:ext cx="9067111" cy="1277785"/>
          </a:xfrm>
          <a:prstGeom prst="rect">
            <a:avLst/>
          </a:prstGeom>
        </p:spPr>
        <p:txBody>
          <a:bodyPr wrap="square">
            <a:normAutofit/>
          </a:bodyPr>
          <a:lstStyle>
            <a:lvl1pPr algn="ctr">
              <a:lnSpc>
                <a:spcPct val="75000"/>
              </a:lnSpc>
              <a:defRPr sz="9600" b="0" i="0">
                <a:solidFill>
                  <a:schemeClr val="bg1"/>
                </a:solidFill>
                <a:latin typeface="+mj-lt"/>
                <a:cs typeface="Tele-GroteskUlt" pitchFamily="2" charset="0"/>
              </a:defRPr>
            </a:lvl1pPr>
          </a:lstStyle>
          <a:p>
            <a:r>
              <a:rPr lang="en-US"/>
              <a:t>Cover slid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6344" y="3920899"/>
            <a:ext cx="4999312" cy="731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667" b="0" i="0">
                <a:solidFill>
                  <a:schemeClr val="bg1"/>
                </a:solidFill>
                <a:latin typeface="+mj-lt"/>
                <a:cs typeface="Tele-GroteskFet" pitchFamily="2" charset="0"/>
              </a:defRPr>
            </a:lvl1pPr>
            <a:lvl2pPr marL="457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5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&amp; 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915B29-B676-4723-AD3C-10EF5AD9695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4924" y="5959487"/>
            <a:ext cx="1822152" cy="44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772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1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170432"/>
            <a:ext cx="11704320" cy="518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839" y="195073"/>
            <a:ext cx="11704319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64913" y="6584881"/>
            <a:ext cx="1038577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7440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2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3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6559069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3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20EC0D-69D2-8F4B-8843-C2E18150249D}"/>
              </a:ext>
            </a:extLst>
          </p:cNvPr>
          <p:cNvSpPr/>
          <p:nvPr userDrawn="1"/>
        </p:nvSpPr>
        <p:spPr>
          <a:xfrm>
            <a:off x="0" y="0"/>
            <a:ext cx="12192000" cy="11704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365505"/>
            <a:ext cx="11704320" cy="498652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2173" y="204240"/>
            <a:ext cx="11704319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Work Product Attorney Client Privilege</a:t>
            </a:r>
          </a:p>
        </p:txBody>
      </p:sp>
    </p:spTree>
    <p:extLst>
      <p:ext uri="{BB962C8B-B14F-4D97-AF65-F5344CB8AC3E}">
        <p14:creationId xmlns:p14="http://schemas.microsoft.com/office/powerpoint/2010/main" val="24669269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4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459D3BA-3FF1-9C42-8A28-0D281A8ACDB3}"/>
              </a:ext>
            </a:extLst>
          </p:cNvPr>
          <p:cNvSpPr/>
          <p:nvPr userDrawn="1"/>
        </p:nvSpPr>
        <p:spPr>
          <a:xfrm>
            <a:off x="0" y="0"/>
            <a:ext cx="12192000" cy="11704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365504"/>
            <a:ext cx="5730240" cy="49865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365504"/>
            <a:ext cx="5730240" cy="49865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3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Work Product Attorney Client Privilege</a:t>
            </a:r>
          </a:p>
        </p:txBody>
      </p:sp>
    </p:spTree>
    <p:extLst>
      <p:ext uri="{BB962C8B-B14F-4D97-AF65-F5344CB8AC3E}">
        <p14:creationId xmlns:p14="http://schemas.microsoft.com/office/powerpoint/2010/main" val="296155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-5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C4BEC-36F3-6A45-BDDC-DC86677EA31C}"/>
              </a:ext>
            </a:extLst>
          </p:cNvPr>
          <p:cNvSpPr/>
          <p:nvPr userDrawn="1"/>
        </p:nvSpPr>
        <p:spPr>
          <a:xfrm>
            <a:off x="3" y="0"/>
            <a:ext cx="4421208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67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95073"/>
            <a:ext cx="7085991" cy="6253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E045E2-3B07-1643-A7AC-58D4E63A2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894415"/>
            <a:ext cx="4421209" cy="2855020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BEC9CF5-9755-4045-812D-1DCACE856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B1F790D-63F8-C04B-B906-A18E76123E94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9D599AD-0FAE-46D1-A1A1-7ADE1607D6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013" y="6572656"/>
            <a:ext cx="810283" cy="198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243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-6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C4BEC-36F3-6A45-BDDC-DC86677EA31C}"/>
              </a:ext>
            </a:extLst>
          </p:cNvPr>
          <p:cNvSpPr/>
          <p:nvPr userDrawn="1"/>
        </p:nvSpPr>
        <p:spPr>
          <a:xfrm>
            <a:off x="2" y="0"/>
            <a:ext cx="463295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95073"/>
            <a:ext cx="7085991" cy="6253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E045E2-3B07-1643-A7AC-58D4E63A2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894415"/>
            <a:ext cx="4632960" cy="2855020"/>
          </a:xfrm>
        </p:spPr>
        <p:txBody>
          <a:bodyPr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BEC9CF5-9755-4045-812D-1DCACE856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B1F790D-63F8-C04B-B906-A18E76123E94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75C5C1-E65A-4422-8CAE-BACACE6CB4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013" y="6572656"/>
            <a:ext cx="810283" cy="198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8743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7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760B4C8-4E62-9448-BBBB-3AEEE2FD36DD}"/>
              </a:ext>
            </a:extLst>
          </p:cNvPr>
          <p:cNvSpPr/>
          <p:nvPr userDrawn="1"/>
        </p:nvSpPr>
        <p:spPr>
          <a:xfrm>
            <a:off x="6076231" y="0"/>
            <a:ext cx="611577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1" y="195073"/>
            <a:ext cx="556913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omparison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1"/>
                </a:solidFill>
              </a:rPr>
              <a:t>T-Mobile Work Product Attorney Client Privileg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1AA0F9A-3DF2-3B48-A71A-548E1DEE9388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bg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23EA2BFA-9532-E94F-8804-9E32693D561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4C8BFD4-6191-1644-A86C-D0EEC761CB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38413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8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487680"/>
            <a:ext cx="7588301" cy="5864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BC704C-D3E9-A14A-8E88-7E96CD00A0F4}"/>
              </a:ext>
            </a:extLst>
          </p:cNvPr>
          <p:cNvSpPr/>
          <p:nvPr userDrawn="1"/>
        </p:nvSpPr>
        <p:spPr>
          <a:xfrm>
            <a:off x="7763512" y="0"/>
            <a:ext cx="4428488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C6F8205A-046D-A947-BD09-AA34CD3B22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512" y="2001491"/>
            <a:ext cx="4428488" cy="2855020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53CCF4-9B5E-3449-B850-B21C80A899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733290D-ABAA-B644-B8A4-C959C25D6EF5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bg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671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9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487680"/>
            <a:ext cx="7588301" cy="5864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BC704C-D3E9-A14A-8E88-7E96CD00A0F4}"/>
              </a:ext>
            </a:extLst>
          </p:cNvPr>
          <p:cNvSpPr/>
          <p:nvPr userDrawn="1"/>
        </p:nvSpPr>
        <p:spPr>
          <a:xfrm>
            <a:off x="7559042" y="0"/>
            <a:ext cx="463295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C6F8205A-046D-A947-BD09-AA34CD3B22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9040" y="2001491"/>
            <a:ext cx="4632960" cy="2855020"/>
          </a:xfrm>
        </p:spPr>
        <p:txBody>
          <a:bodyPr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53CCF4-9B5E-3449-B850-B21C80A899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733290D-ABAA-B644-B8A4-C959C25D6EF5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bg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334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3231-A0C9-46F2-89FE-F4012566537A}" type="datetime1">
              <a:rPr lang="en-US" smtClean="0"/>
              <a:pPr/>
              <a:t>9/2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-Mobil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40C39-5108-E841-85F7-F0B9C0D30E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2pPr>
              <a:defRPr sz="24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43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01-10  - Cover - R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046107" y="2793677"/>
            <a:ext cx="4803840" cy="2355139"/>
          </a:xfrm>
          <a:prstGeom prst="rect">
            <a:avLst/>
          </a:prstGeom>
        </p:spPr>
        <p:txBody>
          <a:bodyPr vert="horz" wrap="square" lIns="73152" tIns="34340" rIns="68681" bIns="34340" rtlCol="0" anchor="ctr">
            <a:normAutofit/>
          </a:bodyPr>
          <a:lstStyle>
            <a:lvl1pPr algn="r">
              <a:lnSpc>
                <a:spcPct val="75000"/>
              </a:lnSpc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42787" y="5285963"/>
            <a:ext cx="4419029" cy="48112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457859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bg1"/>
                </a:solidFill>
                <a:latin typeface="+mj-lt"/>
                <a:ea typeface="+mj-ea"/>
                <a:cs typeface="Tele-GroteskUlt" pitchFamily="2" charset="0"/>
              </a:defRPr>
            </a:lvl1pPr>
            <a:lvl2pPr marL="457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5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&amp; dat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12D0111-C0CD-D549-B80B-1494AA8DB7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38707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30BCF80-960F-7946-A417-D9B9B62D39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55" r="17836" b="9704"/>
          <a:stretch/>
        </p:blipFill>
        <p:spPr>
          <a:xfrm>
            <a:off x="429012" y="0"/>
            <a:ext cx="6653613" cy="6889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5DC74F-3973-C94A-8768-9ED4457C8DA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7795" y="164633"/>
            <a:ext cx="1822152" cy="44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507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80512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15824" y="3313395"/>
            <a:ext cx="11949654" cy="482227"/>
          </a:xfrm>
        </p:spPr>
        <p:txBody>
          <a:bodyPr wrap="square" lIns="45720" rIns="45720">
            <a:noAutofit/>
          </a:bodyPr>
          <a:lstStyle>
            <a:lvl1pPr algn="l">
              <a:defRPr sz="4000" b="0" i="0">
                <a:solidFill>
                  <a:schemeClr val="tx1"/>
                </a:solidFill>
                <a:latin typeface="+mj-lt"/>
                <a:cs typeface="TeleNeo Office ExtraBold" panose="020B0A04040202090203" pitchFamily="34" charset="0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7326" y="3819674"/>
            <a:ext cx="11938152" cy="297438"/>
          </a:xfrm>
          <a:prstGeom prst="rect">
            <a:avLst/>
          </a:prstGeom>
        </p:spPr>
        <p:txBody>
          <a:bodyPr wrap="none" lIns="45720" rIns="4572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&lt;Meeting Date&gt;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D323C54-4B23-4168-8265-AAC2586D7DDC}"/>
              </a:ext>
            </a:extLst>
          </p:cNvPr>
          <p:cNvGrpSpPr/>
          <p:nvPr userDrawn="1"/>
        </p:nvGrpSpPr>
        <p:grpSpPr>
          <a:xfrm>
            <a:off x="133450" y="6572771"/>
            <a:ext cx="239911" cy="228600"/>
            <a:chOff x="116198" y="6124206"/>
            <a:chExt cx="239911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EC4954F-8C15-484E-9D5A-536DFCFE1B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6109" y="6124206"/>
              <a:ext cx="0" cy="228600"/>
            </a:xfrm>
            <a:prstGeom prst="line">
              <a:avLst/>
            </a:prstGeom>
            <a:noFill/>
            <a:ln w="6350" cap="flat" cmpd="sng" algn="ctr">
              <a:solidFill>
                <a:srgbClr val="E20074"/>
              </a:solidFill>
              <a:prstDash val="solid"/>
            </a:ln>
            <a:effectLst/>
          </p:spPr>
        </p:cxn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02784F8-0F4C-484C-8E7D-D3A9D001DE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154" t="30313" r="80846" b="29077"/>
            <a:stretch/>
          </p:blipFill>
          <p:spPr>
            <a:xfrm>
              <a:off x="116198" y="6124206"/>
              <a:ext cx="188685" cy="228600"/>
            </a:xfrm>
            <a:prstGeom prst="rect">
              <a:avLst/>
            </a:prstGeom>
          </p:spPr>
        </p:pic>
      </p:grp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693E2E4B-97A8-4C6B-B6AA-3BD4DA222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duotone>
              <a:prstClr val="black"/>
              <a:schemeClr val="tx2">
                <a:tint val="45000"/>
                <a:satMod val="400000"/>
              </a:schemeClr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11671" y="1299881"/>
            <a:ext cx="3864505" cy="426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9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6C09F4-0977-7F4B-A73A-3E7FF13B3030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DB8871-A195-3944-A7E8-64945D56E235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7DB2FB8-8CAF-FE48-89E0-CCD3149274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7536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-8 - Body Slid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tanding posing for the camera&#10;&#10;Description automatically generated">
            <a:extLst>
              <a:ext uri="{FF2B5EF4-FFF2-40B4-BE49-F238E27FC236}">
                <a16:creationId xmlns:a16="http://schemas.microsoft.com/office/drawing/2014/main" id="{7DAAF219-F2AF-4EE5-A4A2-99503710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4425247" cy="6858000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100667"/>
            <a:ext cx="7085991" cy="5348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3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36335E5-AA53-0B49-B1B5-C3C4BDB3DC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1AB4AED-BAFC-AA4A-A8BC-CB03B5CEE93F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CD6F840B-DB21-6745-A34A-285FFC7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64" y="6283308"/>
            <a:ext cx="431795" cy="51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431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-11 - Body Slid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on top of a grass covered field&#10;&#10;Description automatically generated">
            <a:extLst>
              <a:ext uri="{FF2B5EF4-FFF2-40B4-BE49-F238E27FC236}">
                <a16:creationId xmlns:a16="http://schemas.microsoft.com/office/drawing/2014/main" id="{83A73E06-5DF1-4A30-BDCA-F34F450074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043" y="0"/>
            <a:ext cx="4423521" cy="6858000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100667"/>
            <a:ext cx="7085991" cy="5348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3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888681B8-F3CE-9541-8524-83267AD63D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AF66C3A5-EDDF-FD48-9B31-011E6BE70B7A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12" name="Picture 11" descr="A picture containing clipart&#10;&#10;Description automatically generated">
            <a:extLst>
              <a:ext uri="{FF2B5EF4-FFF2-40B4-BE49-F238E27FC236}">
                <a16:creationId xmlns:a16="http://schemas.microsoft.com/office/drawing/2014/main" id="{ED368E48-5EA4-D749-B84D-E81F48C284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64" y="6283308"/>
            <a:ext cx="431795" cy="51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555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-12 - Body Slid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uple of people that are standing in the grass&#10;&#10;Description automatically generated">
            <a:extLst>
              <a:ext uri="{FF2B5EF4-FFF2-40B4-BE49-F238E27FC236}">
                <a16:creationId xmlns:a16="http://schemas.microsoft.com/office/drawing/2014/main" id="{66E9FF3A-74C0-43A2-A1D9-D4CB8EB7E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428488" cy="6858000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100667"/>
            <a:ext cx="7085991" cy="5348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3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83CDF71-04B9-4845-B11C-ECABBA675C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09C4D3-E7AA-084E-9D35-EB95C9F92026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8" name="Picture 7" descr="A picture containing clipart&#10;&#10;Description automatically generated">
            <a:extLst>
              <a:ext uri="{FF2B5EF4-FFF2-40B4-BE49-F238E27FC236}">
                <a16:creationId xmlns:a16="http://schemas.microsoft.com/office/drawing/2014/main" id="{6C189ABB-0268-C547-8DF9-0321073530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64" y="6283308"/>
            <a:ext cx="431795" cy="51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081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-1 - 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CCE4DC-D02D-554E-B696-C8495BE150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9476" y="940583"/>
            <a:ext cx="2953045" cy="43697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1B490A-AF00-0E46-B9BA-D983033DDE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0883" y="5695197"/>
            <a:ext cx="2704419" cy="66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087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-2 - 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9AEF473-162D-4E4A-B151-A64DD5D5236E}"/>
              </a:ext>
            </a:extLst>
          </p:cNvPr>
          <p:cNvSpPr txBox="1"/>
          <p:nvPr userDrawn="1"/>
        </p:nvSpPr>
        <p:spPr>
          <a:xfrm>
            <a:off x="4186791" y="1714814"/>
            <a:ext cx="3818418" cy="3472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0">
                <a:solidFill>
                  <a:schemeClr val="bg1"/>
                </a:solidFill>
                <a:latin typeface="+mj-lt"/>
                <a:cs typeface="Arial" pitchFamily="34" charset="0"/>
              </a:rPr>
              <a:t>Let’s</a:t>
            </a:r>
          </a:p>
          <a:p>
            <a:pPr algn="ctr">
              <a:lnSpc>
                <a:spcPct val="60000"/>
              </a:lnSpc>
            </a:pPr>
            <a:r>
              <a:rPr lang="en-US" sz="14000">
                <a:solidFill>
                  <a:schemeClr val="bg1"/>
                </a:solidFill>
                <a:latin typeface="+mj-lt"/>
                <a:cs typeface="Arial" pitchFamily="34" charset="0"/>
              </a:rPr>
              <a:t>tal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7CC8DD-7980-451C-B2A9-91C97E5C9B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5618" y="6086414"/>
            <a:ext cx="1940765" cy="474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922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8DAD6-677C-4528-B9B7-2EBA650AB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DC43E0-3631-4FEC-87C2-94D1957F3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74849-ECA0-427B-B4D9-D8B8CA654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-Mobile Work Product Attorney Client Privile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3C6169-1A7F-4C76-85F0-76B3E633C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79A02-319A-4E3D-B13D-C1AFDEACAC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984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FB556-B882-4A2E-88CB-003445DA66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62A653-6C07-4595-A992-27DED5F418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6AA57-8310-49E5-9EAE-433989774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873202-2244-40B8-84EB-1DA753EAA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-Mobile Work Product Attorney Client Privile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FB89CB-3492-4636-AF74-D9582DF8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79A02-319A-4E3D-B13D-C1AFDEACAC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637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754F5-5CF9-41AF-9AAA-586375AF2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73CD4-1431-4CFD-A5DF-C3B2EAA8F3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0FEF6C-A1A4-4C03-9A2B-D1E63B782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9711E-34CA-41D4-9029-476E6241E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-Mobile Work Product Attorney Client Privile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2932F0-9C72-467C-843C-39AE2C3DA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79A02-319A-4E3D-B13D-C1AFDEACAC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324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2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3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3146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1 - Notice of Confidentiali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66263" y="1779753"/>
            <a:ext cx="10440275" cy="17517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0BA668-3D3D-784F-9D7A-8B1E89D654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862" y="1039368"/>
            <a:ext cx="10282277" cy="4030653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8C9C4-28DB-E244-A5B7-41682409CA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729174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2 - T-Mobile Highly Restrict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66263" y="1779753"/>
            <a:ext cx="10440275" cy="17517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3987E14-A710-FD4C-B936-19E4C91317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861" y="1063758"/>
            <a:ext cx="10780315" cy="3989693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414D075-9FBD-D14C-9E3E-9BEC22A15C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</p:spTree>
    <p:extLst>
      <p:ext uri="{BB962C8B-B14F-4D97-AF65-F5344CB8AC3E}">
        <p14:creationId xmlns:p14="http://schemas.microsoft.com/office/powerpoint/2010/main" val="4055411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-1 - Section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7327" y="2170243"/>
            <a:ext cx="10972800" cy="1569795"/>
          </a:xfrm>
          <a:prstGeom prst="rect">
            <a:avLst/>
          </a:prstGeom>
        </p:spPr>
        <p:txBody>
          <a:bodyPr vert="horz" lIns="73152" tIns="34340" rIns="68681" bIns="34340" rtlCol="0" anchor="ctr">
            <a:normAutofit/>
          </a:bodyPr>
          <a:lstStyle>
            <a:lvl1pPr algn="ctr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28550" y="3740037"/>
            <a:ext cx="8510353" cy="48571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457859" rtl="0" eaLnBrk="1" latinLnBrk="0" hangingPunct="1">
              <a:spcBef>
                <a:spcPct val="0"/>
              </a:spcBef>
              <a:buNone/>
              <a:defRPr lang="en-US" sz="4267" b="1" i="0" kern="1200" dirty="0">
                <a:solidFill>
                  <a:schemeClr val="tx1"/>
                </a:solidFill>
                <a:latin typeface="+mj-lt"/>
                <a:ea typeface="+mj-ea"/>
                <a:cs typeface="Tele-GroteskUlt" pitchFamily="2" charset="0"/>
              </a:defRPr>
            </a:lvl1pPr>
            <a:lvl2pPr marL="457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5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ingle support lin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F296223-8DFC-8D41-9C1E-B45774586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C6F683-20AD-6742-B04D-8B2D64745CC1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bg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5AAC9C-ADB2-44EE-8FFA-7A5FC675F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013" y="6572656"/>
            <a:ext cx="810283" cy="198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07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342900" y="1991123"/>
            <a:ext cx="10799235" cy="128905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sz="5333" b="0">
                <a:solidFill>
                  <a:schemeClr val="accent1"/>
                </a:solidFill>
                <a:latin typeface="+mj-lt"/>
              </a:rPr>
              <a:t>Cover</a:t>
            </a:r>
            <a:r>
              <a:rPr lang="en-US" sz="5333" b="0" baseline="0">
                <a:solidFill>
                  <a:schemeClr val="accent1"/>
                </a:solidFill>
                <a:latin typeface="+mj-lt"/>
              </a:rPr>
              <a:t> Pages</a:t>
            </a:r>
            <a:endParaRPr lang="en-US" sz="5333" b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3" name="Picture 2" descr="A picture containing object, clock, meter&#10;&#10;Description automatically generated">
            <a:extLst>
              <a:ext uri="{FF2B5EF4-FFF2-40B4-BE49-F238E27FC236}">
                <a16:creationId xmlns:a16="http://schemas.microsoft.com/office/drawing/2014/main" id="{868ECDBA-245B-4E0E-9A16-23E532C4C7F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0420" y="161203"/>
            <a:ext cx="982981" cy="2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715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3" r:id="rId6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342900" y="1991123"/>
            <a:ext cx="10799235" cy="128905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sz="5333" b="0">
                <a:solidFill>
                  <a:srgbClr val="E20074"/>
                </a:solidFill>
                <a:latin typeface="+mj-lt"/>
              </a:rPr>
              <a:t>Confidential statement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C229D9D-7059-F94E-9D10-5EA88E49696D}"/>
              </a:ext>
            </a:extLst>
          </p:cNvPr>
          <p:cNvSpPr txBox="1">
            <a:spLocks/>
          </p:cNvSpPr>
          <p:nvPr/>
        </p:nvSpPr>
        <p:spPr>
          <a:xfrm>
            <a:off x="64913" y="6584881"/>
            <a:ext cx="1038577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7D8F82A-1588-844F-812C-0654F71EBE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CC35E22-B7BA-F148-9808-D0A3E9063014}"/>
              </a:ext>
            </a:extLst>
          </p:cNvPr>
          <p:cNvSpPr txBox="1">
            <a:spLocks/>
          </p:cNvSpPr>
          <p:nvPr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8" name="Picture 7" descr="A picture containing clock&#10;&#10;Description automatically generated">
            <a:extLst>
              <a:ext uri="{FF2B5EF4-FFF2-40B4-BE49-F238E27FC236}">
                <a16:creationId xmlns:a16="http://schemas.microsoft.com/office/drawing/2014/main" id="{B6C0F0FF-5A76-994B-B815-4EEBB7A3AB3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73111" y="6335464"/>
            <a:ext cx="339579" cy="4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43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0" indent="0" algn="l" defTabSz="457859" rtl="0" eaLnBrk="1" latinLnBrk="0" hangingPunct="1">
        <a:spcBef>
          <a:spcPct val="20000"/>
        </a:spcBef>
        <a:buFont typeface="Arial"/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82600" y="1804856"/>
            <a:ext cx="10799235" cy="128905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sz="5333">
                <a:solidFill>
                  <a:schemeClr val="accent1"/>
                </a:solidFill>
                <a:latin typeface="+mj-lt"/>
              </a:rPr>
              <a:t>Section title slides  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482600" y="2647280"/>
            <a:ext cx="9211733" cy="2017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Tele-GroteskFet" pitchFamily="2" charset="0"/>
                <a:ea typeface="+mn-ea"/>
                <a:cs typeface="Tele-GroteskFet" pitchFamily="2" charset="0"/>
              </a:defRPr>
            </a:lvl1pPr>
            <a:lvl2pPr marL="34340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686806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1030209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1373612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1717015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60418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3820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722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>
                <a:latin typeface="+mn-lt"/>
              </a:rPr>
              <a:t>The</a:t>
            </a:r>
            <a:r>
              <a:rPr lang="en-US" sz="2400" baseline="0">
                <a:latin typeface="+mn-lt"/>
              </a:rPr>
              <a:t> provided layouts should be used for sub-sections or individual chapters within a presentation. </a:t>
            </a:r>
            <a:endParaRPr lang="en-US" sz="24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98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3839" y="200337"/>
            <a:ext cx="11766772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Body – no im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168100"/>
            <a:ext cx="11766771" cy="51782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361AF82-B2CD-DC4C-882F-DF7021C9A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763E8-FA2B-9141-8ABC-5B7B38C2C35E}"/>
              </a:ext>
            </a:extLst>
          </p:cNvPr>
          <p:cNvSpPr txBox="1">
            <a:spLocks/>
          </p:cNvSpPr>
          <p:nvPr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8" name="Picture 7" descr="A picture containing clock&#10;&#10;Description automatically generated">
            <a:extLst>
              <a:ext uri="{FF2B5EF4-FFF2-40B4-BE49-F238E27FC236}">
                <a16:creationId xmlns:a16="http://schemas.microsoft.com/office/drawing/2014/main" id="{8AF7CE43-CD6B-E34C-B5A7-013775297793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73111" y="6335464"/>
            <a:ext cx="339579" cy="4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83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92" r:id="rId10"/>
    <p:sldLayoutId id="2147483694" r:id="rId11"/>
    <p:sldLayoutId id="2147483697" r:id="rId12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chemeClr val="accent1"/>
          </a:solidFill>
          <a:latin typeface="+mj-lt"/>
          <a:ea typeface="TeleGrotesk Next Ultra" pitchFamily="2" charset="0"/>
          <a:cs typeface="TeleGrotesk Next Ultra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3200" b="1" i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3839" y="200337"/>
            <a:ext cx="11766772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Body Slides with Im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168100"/>
            <a:ext cx="11766771" cy="51782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00C36C0-C151-B84F-89D6-B19CD7E69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defRPr>
            </a:lvl1pPr>
          </a:lstStyle>
          <a:p>
            <a:r>
              <a:rPr lang="en-US"/>
              <a:t>T-Mobile Work Product Attorney Client Privile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085C0C0-F226-FE41-8EA1-E5BCBD71401B}"/>
              </a:ext>
            </a:extLst>
          </p:cNvPr>
          <p:cNvSpPr txBox="1">
            <a:spLocks/>
          </p:cNvSpPr>
          <p:nvPr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TeleGrotesk Next Medium" pitchFamily="2" charset="0"/>
              <a:ea typeface="TeleGrotesk Next Medium" pitchFamily="2" charset="0"/>
              <a:cs typeface="TeleGrotesk Next Medium" pitchFamily="2" charset="0"/>
            </a:endParaRPr>
          </a:p>
        </p:txBody>
      </p:sp>
      <p:pic>
        <p:nvPicPr>
          <p:cNvPr id="7" name="Picture 6" descr="A picture containing clock&#10;&#10;Description automatically generated">
            <a:extLst>
              <a:ext uri="{FF2B5EF4-FFF2-40B4-BE49-F238E27FC236}">
                <a16:creationId xmlns:a16="http://schemas.microsoft.com/office/drawing/2014/main" id="{0EF151B8-CE97-6F4E-97B6-BFC9B64DC0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73111" y="6335464"/>
            <a:ext cx="339579" cy="4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2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chemeClr val="accent1"/>
          </a:solidFill>
          <a:latin typeface="+mj-lt"/>
          <a:ea typeface="+mj-ea"/>
          <a:cs typeface="Tele-GroteskUlt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3200" b="1" i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342900" y="1991123"/>
            <a:ext cx="10799235" cy="128905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sz="5333">
                <a:solidFill>
                  <a:schemeClr val="accent1"/>
                </a:solidFill>
                <a:latin typeface="+mj-lt"/>
              </a:rPr>
              <a:t>Closing</a:t>
            </a:r>
            <a:r>
              <a:rPr lang="en-US" sz="5333" baseline="0">
                <a:solidFill>
                  <a:schemeClr val="accent1"/>
                </a:solidFill>
                <a:latin typeface="+mj-lt"/>
              </a:rPr>
              <a:t> Slides</a:t>
            </a:r>
            <a:endParaRPr lang="en-US" sz="5333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5481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sldNum="0" hdr="0" dt="0"/>
  <p:txStyles>
    <p:titleStyle>
      <a:lvl1pPr algn="ctr" defTabSz="457859" rtl="0" eaLnBrk="1" latinLnBrk="0" hangingPunct="1">
        <a:spcBef>
          <a:spcPct val="0"/>
        </a:spcBef>
        <a:buNone/>
        <a:defRPr sz="4267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3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video" Target="https://www.youtube.com/embed/HLw6ZovMpLI?feature=oembed" TargetMode="External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api.starlink.com/public-files/DIRECT_TO_CELL_FIRST_TEXT_UPDATE.pdf" TargetMode="External"/><Relationship Id="rId3" Type="http://schemas.openxmlformats.org/officeDocument/2006/relationships/image" Target="../media/image23.png"/><Relationship Id="rId7" Type="http://schemas.openxmlformats.org/officeDocument/2006/relationships/hyperlink" Target="https://docs.fcc.gov/public/attachments/DA-23-338A1.pdf" TargetMode="External"/><Relationship Id="rId12" Type="http://schemas.openxmlformats.org/officeDocument/2006/relationships/image" Target="../media/image2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://space.com/low-earth-orbit" TargetMode="External"/><Relationship Id="rId11" Type="http://schemas.openxmlformats.org/officeDocument/2006/relationships/image" Target="../media/image25.png"/><Relationship Id="rId5" Type="http://schemas.openxmlformats.org/officeDocument/2006/relationships/hyperlink" Target="https://www.pcmag.com/news/to-improve-starlink-speeds-spacex-wants-to-orbit-satellites-closer-to-earth" TargetMode="External"/><Relationship Id="rId10" Type="http://schemas.openxmlformats.org/officeDocument/2006/relationships/hyperlink" Target="https://www.t-mobile.com/coverage/satellite-phone-service" TargetMode="External"/><Relationship Id="rId4" Type="http://schemas.openxmlformats.org/officeDocument/2006/relationships/image" Target="../media/image24.svg"/><Relationship Id="rId9" Type="http://schemas.openxmlformats.org/officeDocument/2006/relationships/hyperlink" Target="https://www.t-mobile.com/news/network/t-mobile-starlink-beta-open-for-all-carrier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t-mobile.com/coverage/coverage-map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18" Type="http://schemas.microsoft.com/office/2007/relationships/diagramDrawing" Target="../diagrams/drawing3.xml"/><Relationship Id="rId26" Type="http://schemas.openxmlformats.org/officeDocument/2006/relationships/image" Target="../media/image25.png"/><Relationship Id="rId3" Type="http://schemas.openxmlformats.org/officeDocument/2006/relationships/image" Target="../media/image28.png"/><Relationship Id="rId21" Type="http://schemas.openxmlformats.org/officeDocument/2006/relationships/diagramQuickStyle" Target="../diagrams/quickStyle4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17" Type="http://schemas.openxmlformats.org/officeDocument/2006/relationships/diagramColors" Target="../diagrams/colors3.xml"/><Relationship Id="rId25" Type="http://schemas.openxmlformats.org/officeDocument/2006/relationships/image" Target="../media/image30.svg"/><Relationship Id="rId2" Type="http://schemas.openxmlformats.org/officeDocument/2006/relationships/notesSlide" Target="../notesSlides/notesSlide6.xml"/><Relationship Id="rId16" Type="http://schemas.openxmlformats.org/officeDocument/2006/relationships/diagramQuickStyle" Target="../diagrams/quickStyle3.xml"/><Relationship Id="rId20" Type="http://schemas.openxmlformats.org/officeDocument/2006/relationships/diagramLayout" Target="../diagrams/layout4.xml"/><Relationship Id="rId29" Type="http://schemas.openxmlformats.org/officeDocument/2006/relationships/image" Target="../media/image32.png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24" Type="http://schemas.openxmlformats.org/officeDocument/2006/relationships/image" Target="../media/image29.png"/><Relationship Id="rId5" Type="http://schemas.openxmlformats.org/officeDocument/2006/relationships/diagramLayout" Target="../diagrams/layout1.xml"/><Relationship Id="rId15" Type="http://schemas.openxmlformats.org/officeDocument/2006/relationships/diagramLayout" Target="../diagrams/layout3.xml"/><Relationship Id="rId23" Type="http://schemas.microsoft.com/office/2007/relationships/diagramDrawing" Target="../diagrams/drawing4.xml"/><Relationship Id="rId28" Type="http://schemas.openxmlformats.org/officeDocument/2006/relationships/image" Target="../media/image31.png"/><Relationship Id="rId10" Type="http://schemas.openxmlformats.org/officeDocument/2006/relationships/diagramLayout" Target="../diagrams/layout2.xml"/><Relationship Id="rId19" Type="http://schemas.openxmlformats.org/officeDocument/2006/relationships/diagramData" Target="../diagrams/data4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diagramData" Target="../diagrams/data3.xml"/><Relationship Id="rId22" Type="http://schemas.openxmlformats.org/officeDocument/2006/relationships/diagramColors" Target="../diagrams/colors4.xml"/><Relationship Id="rId27" Type="http://schemas.openxmlformats.org/officeDocument/2006/relationships/image" Target="../media/image26.svg"/><Relationship Id="rId30" Type="http://schemas.openxmlformats.org/officeDocument/2006/relationships/image" Target="../media/image3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-mobile.com/news/un-carrier/t-mobile-takes-coverage-above-and-beyond-with-spacex" TargetMode="External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jpeg"/><Relationship Id="rId5" Type="http://schemas.openxmlformats.org/officeDocument/2006/relationships/hyperlink" Target="https://www.t-mobile.com/news/network/t-mobile-stands-prepared-as-wildfires-impact-southern-california" TargetMode="External"/><Relationship Id="rId4" Type="http://schemas.openxmlformats.org/officeDocument/2006/relationships/hyperlink" Target="https://www.t-mobile.com/news/network/hurricane-milton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-mobile.com/coverage/satellite-phone-servic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image" Target="../media/image39.sv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26.svg"/><Relationship Id="rId10" Type="http://schemas.openxmlformats.org/officeDocument/2006/relationships/image" Target="../media/image44.png"/><Relationship Id="rId4" Type="http://schemas.openxmlformats.org/officeDocument/2006/relationships/image" Target="../media/image25.png"/><Relationship Id="rId9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3608180-8203-4A9D-8725-7E60D1123F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6522" y="2093417"/>
            <a:ext cx="9483018" cy="1763504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overage Above and Beyond</a:t>
            </a:r>
            <a:br>
              <a:rPr lang="en-US" dirty="0">
                <a:solidFill>
                  <a:schemeClr val="accent1"/>
                </a:solidFill>
              </a:rPr>
            </a:br>
            <a:endParaRPr lang="en-US" dirty="0"/>
          </a:p>
        </p:txBody>
      </p:sp>
      <p:pic>
        <p:nvPicPr>
          <p:cNvPr id="6" name="Graphic 5" descr="Satellite with solid fill">
            <a:extLst>
              <a:ext uri="{FF2B5EF4-FFF2-40B4-BE49-F238E27FC236}">
                <a16:creationId xmlns:a16="http://schemas.microsoft.com/office/drawing/2014/main" id="{2A025524-6945-4A86-AD34-4C245026EC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46720" y="81377"/>
            <a:ext cx="914400" cy="9144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ABC878A-9D23-41AC-AA93-D821F3C5777C}"/>
              </a:ext>
            </a:extLst>
          </p:cNvPr>
          <p:cNvCxnSpPr/>
          <p:nvPr/>
        </p:nvCxnSpPr>
        <p:spPr>
          <a:xfrm flipV="1">
            <a:off x="8630816" y="895739"/>
            <a:ext cx="1492898" cy="597159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AFC2958-189E-4613-A5AB-068057B5BFCB}"/>
              </a:ext>
            </a:extLst>
          </p:cNvPr>
          <p:cNvCxnSpPr>
            <a:cxnSpLocks/>
          </p:cNvCxnSpPr>
          <p:nvPr/>
        </p:nvCxnSpPr>
        <p:spPr>
          <a:xfrm flipH="1" flipV="1">
            <a:off x="10123714" y="895739"/>
            <a:ext cx="1548882" cy="597159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3">
            <a:extLst>
              <a:ext uri="{FF2B5EF4-FFF2-40B4-BE49-F238E27FC236}">
                <a16:creationId xmlns:a16="http://schemas.microsoft.com/office/drawing/2014/main" id="{36737218-7CD5-8534-C3D6-8E05F5DB5B85}"/>
              </a:ext>
            </a:extLst>
          </p:cNvPr>
          <p:cNvSpPr txBox="1">
            <a:spLocks/>
          </p:cNvSpPr>
          <p:nvPr/>
        </p:nvSpPr>
        <p:spPr>
          <a:xfrm>
            <a:off x="240822" y="2404639"/>
            <a:ext cx="8504294" cy="1576962"/>
          </a:xfrm>
          <a:prstGeom prst="rect">
            <a:avLst/>
          </a:prstGeom>
        </p:spPr>
        <p:txBody>
          <a:bodyPr vert="horz" wrap="square" lIns="45720" tIns="34340" rIns="45720" bIns="34340" rtlCol="0" anchor="ctr">
            <a:noAutofit/>
          </a:bodyPr>
          <a:lstStyle>
            <a:lvl1pPr algn="l" defTabSz="457859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+mj-lt"/>
                <a:ea typeface="TeleGrotesk Next Ultra" pitchFamily="2" charset="0"/>
                <a:cs typeface="TeleNeo Office ExtraBold" panose="020B0A04040202090203" pitchFamily="34" charset="0"/>
              </a:defRPr>
            </a:lvl1pPr>
          </a:lstStyle>
          <a:p>
            <a:r>
              <a:rPr lang="en-US" sz="3200" dirty="0"/>
              <a:t>T-Satellite   </a:t>
            </a:r>
          </a:p>
        </p:txBody>
      </p:sp>
    </p:spTree>
    <p:extLst>
      <p:ext uri="{BB962C8B-B14F-4D97-AF65-F5344CB8AC3E}">
        <p14:creationId xmlns:p14="http://schemas.microsoft.com/office/powerpoint/2010/main" val="29774782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EC553-0808-3F39-C463-20ED552CD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390008-9200-3769-D52A-77795269B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to 911 Service PSAP Readiness 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51A50E54-6620-152A-374A-CF4E847DC8EF}"/>
              </a:ext>
            </a:extLst>
          </p:cNvPr>
          <p:cNvSpPr txBox="1"/>
          <p:nvPr/>
        </p:nvSpPr>
        <p:spPr>
          <a:xfrm>
            <a:off x="1116244" y="1618412"/>
            <a:ext cx="4282474" cy="42934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accent1"/>
                </a:solidFill>
                <a:cs typeface="Arial Bold"/>
              </a:rPr>
              <a:t>Current Availability</a:t>
            </a:r>
            <a:endParaRPr lang="en-US" sz="2000" dirty="0">
              <a:solidFill>
                <a:schemeClr val="accent1"/>
              </a:solidFill>
              <a:cs typeface="Arial Bold" panose="020B0704020202020204" pitchFamily="34" charset="0"/>
            </a:endParaRPr>
          </a:p>
          <a:p>
            <a:r>
              <a:rPr lang="en-US" b="1" dirty="0">
                <a:solidFill>
                  <a:schemeClr val="accent1"/>
                </a:solidFill>
                <a:cs typeface="Arial Bold"/>
              </a:rPr>
              <a:t>PSAP Counts</a:t>
            </a:r>
          </a:p>
          <a:p>
            <a:pPr marL="286385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>
                <a:cs typeface="Arial"/>
              </a:rPr>
              <a:t>Approximately 5,100 primary PSAPs Nationwide  </a:t>
            </a:r>
          </a:p>
          <a:p>
            <a:pPr marL="286385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>
                <a:cs typeface="Arial"/>
              </a:rPr>
              <a:t>85% support Text to 911 service </a:t>
            </a:r>
          </a:p>
          <a:p>
            <a:pPr marL="286385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>
                <a:cs typeface="Arial"/>
              </a:rPr>
              <a:t>No additional preparation required from PSAP to receive SCS Text to 911</a:t>
            </a:r>
          </a:p>
          <a:p>
            <a:pPr marL="114935"/>
            <a:endParaRPr lang="en-US" b="1" dirty="0">
              <a:cs typeface="Arial" panose="020B0604020202020204" pitchFamily="34" charset="0"/>
            </a:endParaRPr>
          </a:p>
          <a:p>
            <a:pPr marL="114300" indent="-114300"/>
            <a:r>
              <a:rPr lang="en-US" b="1" i="0" u="none" strike="noStrike" dirty="0">
                <a:solidFill>
                  <a:schemeClr val="accent1"/>
                </a:solidFill>
                <a:effectLst/>
                <a:cs typeface="Arial Bold"/>
              </a:rPr>
              <a:t>Roaming Support</a:t>
            </a:r>
            <a:endParaRPr lang="en-US" u="none" strike="noStrike" dirty="0">
              <a:solidFill>
                <a:schemeClr val="accent1"/>
              </a:solidFill>
              <a:cs typeface="Arial Bold"/>
            </a:endParaRP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>
                <a:cs typeface="Arial Bold"/>
              </a:rPr>
              <a:t>T-Mobile Text to 911 is supported regardless of home terrestrial coverage if device location is available 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>
                <a:cs typeface="Arial Bold"/>
              </a:rPr>
              <a:t>PSAPs must submit an RFS</a:t>
            </a:r>
            <a:endParaRPr lang="en-US" dirty="0">
              <a:solidFill>
                <a:srgbClr val="3C3C3C"/>
              </a:solidFill>
              <a:cs typeface="Arial" panose="020B0604020202020204" pitchFamily="34" charset="0"/>
            </a:endParaRPr>
          </a:p>
          <a:p>
            <a:pPr marL="743585" lvl="1" indent="-285750">
              <a:buFont typeface="Wingdings" panose="05000000000000000000" pitchFamily="2" charset="2"/>
              <a:buChar char="§"/>
            </a:pPr>
            <a:endParaRPr lang="en-US" sz="1300" b="1" dirty="0">
              <a:solidFill>
                <a:srgbClr val="3C3C3C"/>
              </a:solidFill>
              <a:cs typeface="Arial Bold" panose="020B0704020202020204" pitchFamily="34" charset="0"/>
            </a:endParaRPr>
          </a:p>
          <a:p>
            <a:pPr marL="457835" lvl="1"/>
            <a:endParaRPr lang="en-US" sz="1300" b="1" dirty="0">
              <a:solidFill>
                <a:srgbClr val="E20074"/>
              </a:solidFill>
              <a:cs typeface="Arial Bold" panose="020B07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solidFill>
                <a:schemeClr val="accent1"/>
              </a:solidFill>
              <a:cs typeface="Arial Bold" panose="020B07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6B1734-6065-B3DF-0C76-152CDA506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4899" y="1581023"/>
            <a:ext cx="5053801" cy="27212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69E8448-B35D-E8C8-B5E5-4E8AD12F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4874" y="4302301"/>
            <a:ext cx="2153354" cy="17141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B73E7D-4FCE-2C9D-A2DF-BFA7E7EB7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3209" y="4549908"/>
            <a:ext cx="1465491" cy="9696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5B1F9A4-68BF-8DF9-7C32-C3972357E0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4779" y="4623839"/>
            <a:ext cx="2008430" cy="821786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19FFD93-5A6A-CCD4-7157-E2556F1BE680}"/>
              </a:ext>
            </a:extLst>
          </p:cNvPr>
          <p:cNvSpPr/>
          <p:nvPr/>
        </p:nvSpPr>
        <p:spPr>
          <a:xfrm>
            <a:off x="9205415" y="3749722"/>
            <a:ext cx="614149" cy="211541"/>
          </a:xfrm>
          <a:custGeom>
            <a:avLst/>
            <a:gdLst>
              <a:gd name="connsiteX0" fmla="*/ 81886 w 614149"/>
              <a:gd name="connsiteY0" fmla="*/ 13648 h 211541"/>
              <a:gd name="connsiteX1" fmla="*/ 34119 w 614149"/>
              <a:gd name="connsiteY1" fmla="*/ 23884 h 211541"/>
              <a:gd name="connsiteX2" fmla="*/ 0 w 614149"/>
              <a:gd name="connsiteY2" fmla="*/ 75063 h 211541"/>
              <a:gd name="connsiteX3" fmla="*/ 0 w 614149"/>
              <a:gd name="connsiteY3" fmla="*/ 184245 h 211541"/>
              <a:gd name="connsiteX4" fmla="*/ 150125 w 614149"/>
              <a:gd name="connsiteY4" fmla="*/ 211541 h 211541"/>
              <a:gd name="connsiteX5" fmla="*/ 460612 w 614149"/>
              <a:gd name="connsiteY5" fmla="*/ 204717 h 211541"/>
              <a:gd name="connsiteX6" fmla="*/ 614149 w 614149"/>
              <a:gd name="connsiteY6" fmla="*/ 85299 h 211541"/>
              <a:gd name="connsiteX7" fmla="*/ 614149 w 614149"/>
              <a:gd name="connsiteY7" fmla="*/ 0 h 211541"/>
              <a:gd name="connsiteX8" fmla="*/ 522027 w 614149"/>
              <a:gd name="connsiteY8" fmla="*/ 3412 h 211541"/>
              <a:gd name="connsiteX9" fmla="*/ 518615 w 614149"/>
              <a:gd name="connsiteY9" fmla="*/ 47768 h 211541"/>
              <a:gd name="connsiteX10" fmla="*/ 470848 w 614149"/>
              <a:gd name="connsiteY10" fmla="*/ 71651 h 211541"/>
              <a:gd name="connsiteX11" fmla="*/ 429904 w 614149"/>
              <a:gd name="connsiteY11" fmla="*/ 34120 h 211541"/>
              <a:gd name="connsiteX12" fmla="*/ 392373 w 614149"/>
              <a:gd name="connsiteY12" fmla="*/ 71651 h 211541"/>
              <a:gd name="connsiteX13" fmla="*/ 272955 w 614149"/>
              <a:gd name="connsiteY13" fmla="*/ 40944 h 211541"/>
              <a:gd name="connsiteX14" fmla="*/ 204716 w 614149"/>
              <a:gd name="connsiteY14" fmla="*/ 3412 h 211541"/>
              <a:gd name="connsiteX15" fmla="*/ 81886 w 614149"/>
              <a:gd name="connsiteY15" fmla="*/ 13648 h 211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14149" h="211541">
                <a:moveTo>
                  <a:pt x="81886" y="13648"/>
                </a:moveTo>
                <a:lnTo>
                  <a:pt x="34119" y="23884"/>
                </a:lnTo>
                <a:lnTo>
                  <a:pt x="0" y="75063"/>
                </a:lnTo>
                <a:lnTo>
                  <a:pt x="0" y="184245"/>
                </a:lnTo>
                <a:lnTo>
                  <a:pt x="150125" y="211541"/>
                </a:lnTo>
                <a:lnTo>
                  <a:pt x="460612" y="204717"/>
                </a:lnTo>
                <a:lnTo>
                  <a:pt x="614149" y="85299"/>
                </a:lnTo>
                <a:lnTo>
                  <a:pt x="614149" y="0"/>
                </a:lnTo>
                <a:lnTo>
                  <a:pt x="522027" y="3412"/>
                </a:lnTo>
                <a:lnTo>
                  <a:pt x="518615" y="47768"/>
                </a:lnTo>
                <a:lnTo>
                  <a:pt x="470848" y="71651"/>
                </a:lnTo>
                <a:lnTo>
                  <a:pt x="429904" y="34120"/>
                </a:lnTo>
                <a:lnTo>
                  <a:pt x="392373" y="71651"/>
                </a:lnTo>
                <a:lnTo>
                  <a:pt x="272955" y="40944"/>
                </a:lnTo>
                <a:lnTo>
                  <a:pt x="204716" y="3412"/>
                </a:lnTo>
                <a:lnTo>
                  <a:pt x="81886" y="13648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750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8E133FC-55AA-8FD7-3494-84FF39229F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58753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1" title="A New Era in Connectivity – T-Mobile Starlink | T-Mobile">
            <a:hlinkClick r:id="" action="ppaction://media"/>
            <a:extLst>
              <a:ext uri="{FF2B5EF4-FFF2-40B4-BE49-F238E27FC236}">
                <a16:creationId xmlns:a16="http://schemas.microsoft.com/office/drawing/2014/main" id="{ED195B28-ECD7-4CCC-E22D-614E37DA8651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26988" y="0"/>
            <a:ext cx="12138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58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29BBCA-4DE6-BFE6-D7C4-BEA68E8DB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B7E3D7D-1523-17C5-F7CF-2421FAE12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0" y="0"/>
            <a:ext cx="1371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506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9C1637-E092-75BB-9D72-6FE1562CC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O Satellites Used to Provide Coverag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4D4FFC3-E507-71CC-EE81-01F6051B2F18}"/>
              </a:ext>
            </a:extLst>
          </p:cNvPr>
          <p:cNvGrpSpPr/>
          <p:nvPr/>
        </p:nvGrpSpPr>
        <p:grpSpPr>
          <a:xfrm>
            <a:off x="5256978" y="4879741"/>
            <a:ext cx="6601232" cy="5276452"/>
            <a:chOff x="5124610" y="4663324"/>
            <a:chExt cx="4857799" cy="6575162"/>
          </a:xfrm>
        </p:grpSpPr>
        <p:sp>
          <p:nvSpPr>
            <p:cNvPr id="60" name="Cloud 59">
              <a:extLst>
                <a:ext uri="{FF2B5EF4-FFF2-40B4-BE49-F238E27FC236}">
                  <a16:creationId xmlns:a16="http://schemas.microsoft.com/office/drawing/2014/main" id="{CDB8AD27-3AC2-2061-6CE1-72AFF32FC63B}"/>
                </a:ext>
              </a:extLst>
            </p:cNvPr>
            <p:cNvSpPr/>
            <p:nvPr/>
          </p:nvSpPr>
          <p:spPr>
            <a:xfrm>
              <a:off x="7223196" y="5048801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1" name="Cloud 60">
              <a:extLst>
                <a:ext uri="{FF2B5EF4-FFF2-40B4-BE49-F238E27FC236}">
                  <a16:creationId xmlns:a16="http://schemas.microsoft.com/office/drawing/2014/main" id="{92D29B58-3C7D-039B-E0BB-C9058F642D54}"/>
                </a:ext>
              </a:extLst>
            </p:cNvPr>
            <p:cNvSpPr/>
            <p:nvPr/>
          </p:nvSpPr>
          <p:spPr>
            <a:xfrm>
              <a:off x="6929543" y="5231201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2" name="Cloud 61">
              <a:extLst>
                <a:ext uri="{FF2B5EF4-FFF2-40B4-BE49-F238E27FC236}">
                  <a16:creationId xmlns:a16="http://schemas.microsoft.com/office/drawing/2014/main" id="{3157AB51-C735-2C45-65EA-D8969274CC67}"/>
                </a:ext>
              </a:extLst>
            </p:cNvPr>
            <p:cNvSpPr/>
            <p:nvPr/>
          </p:nvSpPr>
          <p:spPr>
            <a:xfrm rot="20374650">
              <a:off x="6584707" y="5328296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3" name="Cloud 62">
              <a:extLst>
                <a:ext uri="{FF2B5EF4-FFF2-40B4-BE49-F238E27FC236}">
                  <a16:creationId xmlns:a16="http://schemas.microsoft.com/office/drawing/2014/main" id="{BAD3D682-ACD8-C393-A92E-859F9C442E5B}"/>
                </a:ext>
              </a:extLst>
            </p:cNvPr>
            <p:cNvSpPr/>
            <p:nvPr/>
          </p:nvSpPr>
          <p:spPr>
            <a:xfrm rot="20374650">
              <a:off x="6530845" y="5199198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4" name="Arc 63">
              <a:extLst>
                <a:ext uri="{FF2B5EF4-FFF2-40B4-BE49-F238E27FC236}">
                  <a16:creationId xmlns:a16="http://schemas.microsoft.com/office/drawing/2014/main" id="{846F5F71-02BE-A94C-F733-DF362D90F426}"/>
                </a:ext>
              </a:extLst>
            </p:cNvPr>
            <p:cNvSpPr/>
            <p:nvPr/>
          </p:nvSpPr>
          <p:spPr>
            <a:xfrm rot="19382200">
              <a:off x="5124610" y="4998116"/>
              <a:ext cx="4857799" cy="6240370"/>
            </a:xfrm>
            <a:prstGeom prst="arc">
              <a:avLst/>
            </a:prstGeom>
            <a:ln w="19050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65" name="Cloud 64">
              <a:extLst>
                <a:ext uri="{FF2B5EF4-FFF2-40B4-BE49-F238E27FC236}">
                  <a16:creationId xmlns:a16="http://schemas.microsoft.com/office/drawing/2014/main" id="{DBD5D42C-0E44-3691-54C9-3ADDE8D552F5}"/>
                </a:ext>
              </a:extLst>
            </p:cNvPr>
            <p:cNvSpPr/>
            <p:nvPr/>
          </p:nvSpPr>
          <p:spPr>
            <a:xfrm>
              <a:off x="6937422" y="5054229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6" name="Cloud 65">
              <a:extLst>
                <a:ext uri="{FF2B5EF4-FFF2-40B4-BE49-F238E27FC236}">
                  <a16:creationId xmlns:a16="http://schemas.microsoft.com/office/drawing/2014/main" id="{F1FDACE7-9C5D-1ABC-9528-FFF207FD61B4}"/>
                </a:ext>
              </a:extLst>
            </p:cNvPr>
            <p:cNvSpPr/>
            <p:nvPr/>
          </p:nvSpPr>
          <p:spPr>
            <a:xfrm>
              <a:off x="7238959" y="5057305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7" name="Cloud 66">
              <a:extLst>
                <a:ext uri="{FF2B5EF4-FFF2-40B4-BE49-F238E27FC236}">
                  <a16:creationId xmlns:a16="http://schemas.microsoft.com/office/drawing/2014/main" id="{82CBEA8C-BC0B-0F91-E2B6-2B04C6E02B9C}"/>
                </a:ext>
              </a:extLst>
            </p:cNvPr>
            <p:cNvSpPr/>
            <p:nvPr/>
          </p:nvSpPr>
          <p:spPr>
            <a:xfrm>
              <a:off x="6945306" y="5239705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8" name="Cloud 67">
              <a:extLst>
                <a:ext uri="{FF2B5EF4-FFF2-40B4-BE49-F238E27FC236}">
                  <a16:creationId xmlns:a16="http://schemas.microsoft.com/office/drawing/2014/main" id="{6332924F-16E9-4A62-D7C1-B65649D42D0A}"/>
                </a:ext>
              </a:extLst>
            </p:cNvPr>
            <p:cNvSpPr/>
            <p:nvPr/>
          </p:nvSpPr>
          <p:spPr>
            <a:xfrm rot="20374650">
              <a:off x="6600470" y="5336800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69" name="Cloud 68">
              <a:extLst>
                <a:ext uri="{FF2B5EF4-FFF2-40B4-BE49-F238E27FC236}">
                  <a16:creationId xmlns:a16="http://schemas.microsoft.com/office/drawing/2014/main" id="{7C0996B0-FD80-79DA-0EDD-F7571B4ED9FA}"/>
                </a:ext>
              </a:extLst>
            </p:cNvPr>
            <p:cNvSpPr/>
            <p:nvPr/>
          </p:nvSpPr>
          <p:spPr>
            <a:xfrm rot="20374650">
              <a:off x="6546608" y="5207702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0" name="Cloud 69">
              <a:extLst>
                <a:ext uri="{FF2B5EF4-FFF2-40B4-BE49-F238E27FC236}">
                  <a16:creationId xmlns:a16="http://schemas.microsoft.com/office/drawing/2014/main" id="{14EAEBA9-5029-AF19-9195-8121D989121B}"/>
                </a:ext>
              </a:extLst>
            </p:cNvPr>
            <p:cNvSpPr/>
            <p:nvPr/>
          </p:nvSpPr>
          <p:spPr>
            <a:xfrm>
              <a:off x="6953185" y="5062733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1" name="Cloud 70">
              <a:extLst>
                <a:ext uri="{FF2B5EF4-FFF2-40B4-BE49-F238E27FC236}">
                  <a16:creationId xmlns:a16="http://schemas.microsoft.com/office/drawing/2014/main" id="{3D323550-0387-618F-878F-C23F2B4E91C2}"/>
                </a:ext>
              </a:extLst>
            </p:cNvPr>
            <p:cNvSpPr/>
            <p:nvPr/>
          </p:nvSpPr>
          <p:spPr>
            <a:xfrm>
              <a:off x="7728287" y="5080333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2" name="Cloud 71">
              <a:extLst>
                <a:ext uri="{FF2B5EF4-FFF2-40B4-BE49-F238E27FC236}">
                  <a16:creationId xmlns:a16="http://schemas.microsoft.com/office/drawing/2014/main" id="{06DF387B-FDB7-C87A-5E8A-557674796E7F}"/>
                </a:ext>
              </a:extLst>
            </p:cNvPr>
            <p:cNvSpPr/>
            <p:nvPr/>
          </p:nvSpPr>
          <p:spPr>
            <a:xfrm>
              <a:off x="7821409" y="4663324"/>
              <a:ext cx="1166121" cy="937296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3" name="Cloud 72">
              <a:extLst>
                <a:ext uri="{FF2B5EF4-FFF2-40B4-BE49-F238E27FC236}">
                  <a16:creationId xmlns:a16="http://schemas.microsoft.com/office/drawing/2014/main" id="{F4A821FF-5B6D-F04D-415F-672466D71CB1}"/>
                </a:ext>
              </a:extLst>
            </p:cNvPr>
            <p:cNvSpPr/>
            <p:nvPr/>
          </p:nvSpPr>
          <p:spPr>
            <a:xfrm rot="20374650">
              <a:off x="7119088" y="5323465"/>
              <a:ext cx="518618" cy="320239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4" name="Cloud 73">
              <a:extLst>
                <a:ext uri="{FF2B5EF4-FFF2-40B4-BE49-F238E27FC236}">
                  <a16:creationId xmlns:a16="http://schemas.microsoft.com/office/drawing/2014/main" id="{B6CE8C37-D336-9829-68B7-B90E963EA2BD}"/>
                </a:ext>
              </a:extLst>
            </p:cNvPr>
            <p:cNvSpPr/>
            <p:nvPr/>
          </p:nvSpPr>
          <p:spPr>
            <a:xfrm rot="20374650">
              <a:off x="7343280" y="4861592"/>
              <a:ext cx="755244" cy="746210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sp>
          <p:nvSpPr>
            <p:cNvPr id="75" name="Cloud 74">
              <a:extLst>
                <a:ext uri="{FF2B5EF4-FFF2-40B4-BE49-F238E27FC236}">
                  <a16:creationId xmlns:a16="http://schemas.microsoft.com/office/drawing/2014/main" id="{5EB1FFD4-060C-AB9A-6205-1A12F5763633}"/>
                </a:ext>
              </a:extLst>
            </p:cNvPr>
            <p:cNvSpPr/>
            <p:nvPr/>
          </p:nvSpPr>
          <p:spPr>
            <a:xfrm>
              <a:off x="7165994" y="4889367"/>
              <a:ext cx="518618" cy="320240"/>
            </a:xfrm>
            <a:prstGeom prst="cloud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53">
                <a:defRPr/>
              </a:pPr>
              <a:endParaRPr lang="en-US" sz="1050">
                <a:solidFill>
                  <a:srgbClr val="FFFFFF"/>
                </a:solidFill>
                <a:latin typeface="Tele-GroteskNor"/>
              </a:endParaRPr>
            </a:p>
          </p:txBody>
        </p:sp>
        <p:pic>
          <p:nvPicPr>
            <p:cNvPr id="76" name="Graphic 75" descr="Phone Vibration with solid fill">
              <a:extLst>
                <a:ext uri="{FF2B5EF4-FFF2-40B4-BE49-F238E27FC236}">
                  <a16:creationId xmlns:a16="http://schemas.microsoft.com/office/drawing/2014/main" id="{CE21E7DE-51DF-5157-E8FC-706051972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23783" y="4781688"/>
              <a:ext cx="545083" cy="545083"/>
            </a:xfrm>
            <a:prstGeom prst="rect">
              <a:avLst/>
            </a:prstGeom>
          </p:spPr>
        </p:pic>
        <p:pic>
          <p:nvPicPr>
            <p:cNvPr id="77" name="Graphic 76" descr="Phone Vibration with solid fill">
              <a:extLst>
                <a:ext uri="{FF2B5EF4-FFF2-40B4-BE49-F238E27FC236}">
                  <a16:creationId xmlns:a16="http://schemas.microsoft.com/office/drawing/2014/main" id="{34E69C5A-10E9-9739-14B3-BDC60A4AD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72182" y="4983098"/>
              <a:ext cx="545083" cy="545082"/>
            </a:xfrm>
            <a:prstGeom prst="rect">
              <a:avLst/>
            </a:prstGeom>
          </p:spPr>
        </p:pic>
        <p:pic>
          <p:nvPicPr>
            <p:cNvPr id="78" name="Graphic 77" descr="Phone Vibration with solid fill">
              <a:extLst>
                <a:ext uri="{FF2B5EF4-FFF2-40B4-BE49-F238E27FC236}">
                  <a16:creationId xmlns:a16="http://schemas.microsoft.com/office/drawing/2014/main" id="{AA4ABF6B-7050-B36B-64D2-4983EF4F17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56059" y="4799463"/>
              <a:ext cx="545083" cy="545082"/>
            </a:xfrm>
            <a:prstGeom prst="rect">
              <a:avLst/>
            </a:prstGeom>
          </p:spPr>
        </p:pic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8B020C24-F3D3-4F36-00CC-A349C42E2BD0}"/>
              </a:ext>
            </a:extLst>
          </p:cNvPr>
          <p:cNvSpPr/>
          <p:nvPr/>
        </p:nvSpPr>
        <p:spPr>
          <a:xfrm>
            <a:off x="8590186" y="4879351"/>
            <a:ext cx="1069462" cy="713076"/>
          </a:xfrm>
          <a:prstGeom prst="ellipse">
            <a:avLst/>
          </a:prstGeom>
          <a:solidFill>
            <a:schemeClr val="accent1">
              <a:alpha val="24000"/>
            </a:schemeClr>
          </a:solidFill>
          <a:ln>
            <a:solidFill>
              <a:schemeClr val="accent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99EC0D95-333D-1E97-1A37-4A16F3FF96AF}"/>
              </a:ext>
            </a:extLst>
          </p:cNvPr>
          <p:cNvSpPr/>
          <p:nvPr/>
        </p:nvSpPr>
        <p:spPr>
          <a:xfrm rot="772635">
            <a:off x="8999024" y="1984632"/>
            <a:ext cx="978996" cy="3403993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3E5B1FF-9B32-6E3F-53B9-6A2A2774B877}"/>
              </a:ext>
            </a:extLst>
          </p:cNvPr>
          <p:cNvSpPr/>
          <p:nvPr/>
        </p:nvSpPr>
        <p:spPr>
          <a:xfrm>
            <a:off x="7874391" y="5039011"/>
            <a:ext cx="1069462" cy="713076"/>
          </a:xfrm>
          <a:prstGeom prst="ellipse">
            <a:avLst/>
          </a:prstGeom>
          <a:solidFill>
            <a:schemeClr val="accent2">
              <a:alpha val="24000"/>
            </a:schemeClr>
          </a:solidFill>
          <a:ln>
            <a:solidFill>
              <a:schemeClr val="accent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BCFC93C0-28A2-9871-1D07-A08D696DB521}"/>
              </a:ext>
            </a:extLst>
          </p:cNvPr>
          <p:cNvSpPr/>
          <p:nvPr/>
        </p:nvSpPr>
        <p:spPr>
          <a:xfrm rot="1391323">
            <a:off x="8681872" y="1870609"/>
            <a:ext cx="938538" cy="3673693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5F3D765E-DF48-A5EB-AB69-8E6C343FF256}"/>
              </a:ext>
            </a:extLst>
          </p:cNvPr>
          <p:cNvCxnSpPr/>
          <p:nvPr/>
        </p:nvCxnSpPr>
        <p:spPr>
          <a:xfrm>
            <a:off x="8921641" y="1645035"/>
            <a:ext cx="2562436" cy="0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92C928CF-9740-8A51-6BE3-23B0C2E055BC}"/>
              </a:ext>
            </a:extLst>
          </p:cNvPr>
          <p:cNvSpPr txBox="1"/>
          <p:nvPr/>
        </p:nvSpPr>
        <p:spPr>
          <a:xfrm>
            <a:off x="8435701" y="1317737"/>
            <a:ext cx="12971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>
                <a:cs typeface="Arial" pitchFamily="34" charset="0"/>
              </a:rPr>
              <a:t>17,500 mph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017A3A2A-9EED-E29C-637E-40187EDB08D3}"/>
              </a:ext>
            </a:extLst>
          </p:cNvPr>
          <p:cNvCxnSpPr>
            <a:cxnSpLocks/>
          </p:cNvCxnSpPr>
          <p:nvPr/>
        </p:nvCxnSpPr>
        <p:spPr>
          <a:xfrm>
            <a:off x="9951112" y="2080137"/>
            <a:ext cx="0" cy="2694376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AF0C8CE5-1FE5-85A4-8332-68C339B6F2C4}"/>
              </a:ext>
            </a:extLst>
          </p:cNvPr>
          <p:cNvSpPr txBox="1"/>
          <p:nvPr/>
        </p:nvSpPr>
        <p:spPr>
          <a:xfrm>
            <a:off x="10069234" y="3308641"/>
            <a:ext cx="11749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>
                <a:cs typeface="Arial" pitchFamily="34" charset="0"/>
              </a:rPr>
              <a:t>~220 miles (</a:t>
            </a:r>
            <a:r>
              <a:rPr lang="en-US" err="1">
                <a:cs typeface="Arial" pitchFamily="34" charset="0"/>
              </a:rPr>
              <a:t>i</a:t>
            </a:r>
            <a:r>
              <a:rPr lang="en-US">
                <a:cs typeface="Arial" pitchFamily="34" charset="0"/>
              </a:rPr>
              <a:t>)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33CFA19-9BEA-AA7F-DB51-3B686B247B07}"/>
              </a:ext>
            </a:extLst>
          </p:cNvPr>
          <p:cNvSpPr txBox="1"/>
          <p:nvPr/>
        </p:nvSpPr>
        <p:spPr>
          <a:xfrm>
            <a:off x="6999147" y="5863834"/>
            <a:ext cx="530786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5"/>
              </a:rPr>
              <a:t>https://www.pcmag.com/news/to-improve-starlink-speeds-spacex-wants-to-orbit-satellites-closer-to-earth</a:t>
            </a:r>
            <a:endParaRPr lang="en-US" sz="8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6"/>
              </a:rPr>
              <a:t>http://Space.com/low-earth-orbit</a:t>
            </a:r>
            <a:endParaRPr lang="en-US" sz="8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7"/>
              </a:rPr>
              <a:t>https://docs.fcc.gov/public/attachments/DA-23-338A1.pdf</a:t>
            </a:r>
            <a:endParaRPr lang="en-US" sz="8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8"/>
              </a:rPr>
              <a:t>https://api.starlink.com/public-files/DIRECT_TO_CELL_FIRST_TEXT_UPDATE.pdf</a:t>
            </a:r>
            <a:endParaRPr lang="en-US" sz="8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9"/>
              </a:rPr>
              <a:t>https://www.t-mobile.com/news/network/t-mobile-starlink-beta-open-for-all-carriers</a:t>
            </a:r>
            <a:endParaRPr lang="en-US" sz="800" dirty="0">
              <a:cs typeface="Arial" pitchFamily="34" charset="0"/>
            </a:endParaRPr>
          </a:p>
          <a:p>
            <a:pPr marL="285750" indent="-285750">
              <a:buAutoNum type="romanLcParenBoth"/>
            </a:pPr>
            <a:r>
              <a:rPr lang="en-US" sz="800" dirty="0">
                <a:cs typeface="Arial" pitchFamily="34" charset="0"/>
              </a:rPr>
              <a:t>Source: </a:t>
            </a:r>
            <a:r>
              <a:rPr lang="en-US" sz="800" dirty="0">
                <a:cs typeface="Arial" pitchFamily="34" charset="0"/>
                <a:hlinkClick r:id="rId10"/>
              </a:rPr>
              <a:t>https://www.t-mobile.com/coverage/satellite-phone-service</a:t>
            </a:r>
            <a:endParaRPr lang="en-US" sz="800" dirty="0">
              <a:cs typeface="Arial" pitchFamily="34" charset="0"/>
            </a:endParaRPr>
          </a:p>
          <a:p>
            <a:endParaRPr lang="en-US" sz="8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endParaRPr lang="en-US" sz="1000" dirty="0">
              <a:cs typeface="Arial" pitchFamily="34" charset="0"/>
            </a:endParaRPr>
          </a:p>
          <a:p>
            <a:pPr algn="l"/>
            <a:endParaRPr lang="en-US" sz="10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endParaRPr lang="en-US" sz="1000" dirty="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endParaRPr lang="en-US" sz="1000" dirty="0">
              <a:cs typeface="Arial" pitchFamily="34" charset="0"/>
            </a:endParaRPr>
          </a:p>
        </p:txBody>
      </p:sp>
      <p:pic>
        <p:nvPicPr>
          <p:cNvPr id="88" name="Graphic 87" descr="Satellite with solid fill">
            <a:extLst>
              <a:ext uri="{FF2B5EF4-FFF2-40B4-BE49-F238E27FC236}">
                <a16:creationId xmlns:a16="http://schemas.microsoft.com/office/drawing/2014/main" id="{F657C4E9-4979-ABEC-5279-D6D61B9B3B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04314" y="1227244"/>
            <a:ext cx="842310" cy="842310"/>
          </a:xfrm>
          <a:prstGeom prst="rect">
            <a:avLst/>
          </a:prstGeom>
        </p:spPr>
      </p:pic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93BFCF4A-EA19-F117-C3AE-DEDEDC360F17}"/>
              </a:ext>
            </a:extLst>
          </p:cNvPr>
          <p:cNvSpPr txBox="1">
            <a:spLocks/>
          </p:cNvSpPr>
          <p:nvPr/>
        </p:nvSpPr>
        <p:spPr>
          <a:xfrm>
            <a:off x="248871" y="1169538"/>
            <a:ext cx="6804493" cy="5004934"/>
          </a:xfr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515104" indent="-51510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4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116060" indent="-42925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17014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03820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090626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777432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64238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51044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37850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Constellation of satellites moving at 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17,500 miles per hour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(ii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It takes about 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90 minutes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to complete an orbit of the planet. (ii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3GPP LTE Technology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SpaceX will broadcast 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T-Mobile’s PCS Spectrum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(Band 25).  Specifically, the PCS G-block 1910-1915MHz and 1990-1995MHz will be used under a spectrum lease agreement.(iii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First group of satellites with Direct to Cell capability 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launched January 2</a:t>
            </a:r>
            <a:r>
              <a:rPr lang="en-US" sz="1800" baseline="30000" dirty="0">
                <a:solidFill>
                  <a:schemeClr val="accent1"/>
                </a:solidFill>
                <a:latin typeface="+mn-lt"/>
              </a:rPr>
              <a:t>nd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, 2024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 and 6 days later the 1</a:t>
            </a:r>
            <a:r>
              <a:rPr lang="en-US" sz="1800" baseline="30000" dirty="0">
                <a:solidFill>
                  <a:schemeClr val="tx1"/>
                </a:solidFill>
                <a:latin typeface="+mn-lt"/>
              </a:rPr>
              <a:t>st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 successful txt messages were sent and received. (iv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+mn-lt"/>
              </a:rPr>
              <a:t>T-Satellite 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Beta Service Launch: February 9</a:t>
            </a:r>
            <a:r>
              <a:rPr lang="en-US" sz="1800" baseline="30000" dirty="0">
                <a:solidFill>
                  <a:schemeClr val="accent1"/>
                </a:solidFill>
                <a:latin typeface="+mn-lt"/>
              </a:rPr>
              <a:t>th</a:t>
            </a:r>
            <a:r>
              <a:rPr lang="en-US" sz="1800" dirty="0">
                <a:solidFill>
                  <a:schemeClr val="accent1"/>
                </a:solidFill>
                <a:latin typeface="+mn-lt"/>
              </a:rPr>
              <a:t>, 2025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. the first and only space‑based mobile network in the U.S. that automatically connects to your phone in areas no cellular network reaches. (v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 dirty="0">
                <a:solidFill>
                  <a:schemeClr val="tx1"/>
                </a:solidFill>
                <a:latin typeface="TeleGrotesk Next (Body)"/>
              </a:rPr>
              <a:t>T-Satellite Commercial Launch: July 23</a:t>
            </a:r>
            <a:r>
              <a:rPr lang="en-US" sz="1800" baseline="30000" dirty="0">
                <a:solidFill>
                  <a:schemeClr val="tx1"/>
                </a:solidFill>
                <a:latin typeface="TeleGrotesk Next (Body)"/>
              </a:rPr>
              <a:t>rd</a:t>
            </a:r>
            <a:r>
              <a:rPr lang="en-US" sz="1800" dirty="0">
                <a:solidFill>
                  <a:schemeClr val="tx1"/>
                </a:solidFill>
                <a:latin typeface="TeleGrotesk Next (Body)"/>
              </a:rPr>
              <a:t>, 2025. (vi)</a:t>
            </a: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 marL="514985" indent="-514985"/>
            <a:endParaRPr lang="en-US" sz="1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9224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27446EA-B19C-AD05-6531-3D26138CB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6460" y="3026391"/>
            <a:ext cx="4889216" cy="278358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9C1637-E092-75BB-9D72-6FE1562CC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can Direct to Cell Satellite Coverage help?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D7CAFE6-36D2-0E8B-2B06-A4551A5EE528}"/>
              </a:ext>
            </a:extLst>
          </p:cNvPr>
          <p:cNvSpPr txBox="1">
            <a:spLocks/>
          </p:cNvSpPr>
          <p:nvPr/>
        </p:nvSpPr>
        <p:spPr>
          <a:xfrm>
            <a:off x="238159" y="1584249"/>
            <a:ext cx="5734802" cy="5004934"/>
          </a:xfrm>
        </p:spPr>
        <p:txBody>
          <a:bodyPr vert="horz" lIns="91440" tIns="45720" rIns="91440" bIns="45720" rtlCol="0" anchor="ctr">
            <a:normAutofit lnSpcReduction="10000"/>
          </a:bodyPr>
          <a:lstStyle>
            <a:lvl1pPr marL="515104" indent="-51510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4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116060" indent="-42925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17014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03820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090626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777432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64238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51044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37850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There are geographical areas where terrestrial wireless networks just simply are not able to cover!</a:t>
            </a:r>
          </a:p>
          <a:p>
            <a:pPr marL="514985" indent="-514985"/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National Parks do not typically allow wireless network infrastructure (power, backhaul, towers) to be built.</a:t>
            </a:r>
          </a:p>
          <a:p>
            <a:pPr marL="514985" indent="-514985"/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Mountain passes and recreational areas have historically been difficult to cover due to the terrain and heavy tree foliage.</a:t>
            </a:r>
          </a:p>
          <a:p>
            <a:pPr marL="514985" indent="-514985"/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Providing coverage to these areas would be beneficial to mobile customers and could provide life saving connectivity.</a:t>
            </a:r>
          </a:p>
          <a:p>
            <a:pPr marL="514985" indent="-514985"/>
            <a:endParaRPr lang="en-US" sz="1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C4767987-A428-13A4-67E1-347B382C6698}"/>
              </a:ext>
            </a:extLst>
          </p:cNvPr>
          <p:cNvSpPr/>
          <p:nvPr/>
        </p:nvSpPr>
        <p:spPr>
          <a:xfrm>
            <a:off x="6491447" y="3892406"/>
            <a:ext cx="1238250" cy="388620"/>
          </a:xfrm>
          <a:prstGeom prst="rightArrow">
            <a:avLst/>
          </a:prstGeom>
          <a:noFill/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04C11D71-76B0-7A35-E78E-4F3CB5A0ECF7}"/>
              </a:ext>
            </a:extLst>
          </p:cNvPr>
          <p:cNvSpPr/>
          <p:nvPr/>
        </p:nvSpPr>
        <p:spPr>
          <a:xfrm rot="5400000">
            <a:off x="8942405" y="2721746"/>
            <a:ext cx="963178" cy="388620"/>
          </a:xfrm>
          <a:prstGeom prst="rightArrow">
            <a:avLst/>
          </a:prstGeom>
          <a:noFill/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9D5FDFF-DD30-AC89-CCFB-B0C36138BF8C}"/>
              </a:ext>
            </a:extLst>
          </p:cNvPr>
          <p:cNvSpPr>
            <a:spLocks noGrp="1"/>
          </p:cNvSpPr>
          <p:nvPr/>
        </p:nvSpPr>
        <p:spPr>
          <a:xfrm>
            <a:off x="5700554" y="4093950"/>
            <a:ext cx="2396057" cy="656439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tx1"/>
                </a:solidFill>
              </a:rPr>
              <a:t>Olympic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National Park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E18781-BA31-908F-4662-4A547EAF457F}"/>
              </a:ext>
            </a:extLst>
          </p:cNvPr>
          <p:cNvSpPr>
            <a:spLocks noGrp="1"/>
          </p:cNvSpPr>
          <p:nvPr/>
        </p:nvSpPr>
        <p:spPr>
          <a:xfrm>
            <a:off x="9229684" y="2395226"/>
            <a:ext cx="2396057" cy="410217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tx1"/>
                </a:solidFill>
              </a:rPr>
              <a:t>North Cascades Hwy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3613C51-9C85-FBF4-19CA-BC7798995F85}"/>
              </a:ext>
            </a:extLst>
          </p:cNvPr>
          <p:cNvSpPr>
            <a:spLocks noGrp="1"/>
          </p:cNvSpPr>
          <p:nvPr/>
        </p:nvSpPr>
        <p:spPr>
          <a:xfrm>
            <a:off x="6785076" y="5871189"/>
            <a:ext cx="4889216" cy="717994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r>
              <a:rPr lang="en-US" sz="1200">
                <a:solidFill>
                  <a:schemeClr val="tx1"/>
                </a:solidFill>
              </a:rPr>
              <a:t>Source: T-Mobile 4G/5G Coverage Map, February 2025</a:t>
            </a:r>
          </a:p>
          <a:p>
            <a:r>
              <a:rPr lang="en-US" sz="1200">
                <a:solidFill>
                  <a:schemeClr val="tx1"/>
                </a:solidFill>
                <a:hlinkClick r:id="rId4"/>
              </a:rPr>
              <a:t>https://www.t-mobile.com/coverage/coverage-map</a:t>
            </a:r>
            <a:endParaRPr lang="en-US" sz="1200">
              <a:solidFill>
                <a:schemeClr val="tx1"/>
              </a:solidFill>
            </a:endParaRPr>
          </a:p>
          <a:p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2B2D79C-8E08-05DD-A08F-EC552FB2FCC9}"/>
              </a:ext>
            </a:extLst>
          </p:cNvPr>
          <p:cNvSpPr>
            <a:spLocks noGrp="1"/>
          </p:cNvSpPr>
          <p:nvPr/>
        </p:nvSpPr>
        <p:spPr>
          <a:xfrm>
            <a:off x="7233236" y="1087455"/>
            <a:ext cx="3621208" cy="1148881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3200">
                <a:solidFill>
                  <a:schemeClr val="accent1"/>
                </a:solidFill>
              </a:rPr>
              <a:t>T-Mobile Coverage: Washington St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2A4FA0-A092-6767-E166-7D6CBBF73D3C}"/>
              </a:ext>
            </a:extLst>
          </p:cNvPr>
          <p:cNvSpPr/>
          <p:nvPr/>
        </p:nvSpPr>
        <p:spPr>
          <a:xfrm>
            <a:off x="6716460" y="2406116"/>
            <a:ext cx="244321" cy="20949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A538A13-69C4-ACCE-E0EA-340974AE19F8}"/>
              </a:ext>
            </a:extLst>
          </p:cNvPr>
          <p:cNvSpPr>
            <a:spLocks noGrp="1"/>
          </p:cNvSpPr>
          <p:nvPr/>
        </p:nvSpPr>
        <p:spPr>
          <a:xfrm>
            <a:off x="6531668" y="2355385"/>
            <a:ext cx="2396057" cy="333273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100">
                <a:solidFill>
                  <a:schemeClr val="tx1"/>
                </a:solidFill>
              </a:rPr>
              <a:t>T-Mobile 4G/5G Cover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6B2191-2296-EF32-D6F9-C0611F9CCCA2}"/>
              </a:ext>
            </a:extLst>
          </p:cNvPr>
          <p:cNvSpPr/>
          <p:nvPr/>
        </p:nvSpPr>
        <p:spPr>
          <a:xfrm>
            <a:off x="6716459" y="2666015"/>
            <a:ext cx="244321" cy="2094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43075C-C912-E376-7265-E09D6C664210}"/>
              </a:ext>
            </a:extLst>
          </p:cNvPr>
          <p:cNvSpPr>
            <a:spLocks noGrp="1"/>
          </p:cNvSpPr>
          <p:nvPr/>
        </p:nvSpPr>
        <p:spPr>
          <a:xfrm>
            <a:off x="6891494" y="2598475"/>
            <a:ext cx="2396057" cy="333273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r>
              <a:rPr lang="en-US" sz="1100">
                <a:solidFill>
                  <a:schemeClr val="tx1"/>
                </a:solidFill>
              </a:rPr>
              <a:t>Satellite SMS Coverage</a:t>
            </a:r>
          </a:p>
        </p:txBody>
      </p:sp>
    </p:spTree>
    <p:extLst>
      <p:ext uri="{BB962C8B-B14F-4D97-AF65-F5344CB8AC3E}">
        <p14:creationId xmlns:p14="http://schemas.microsoft.com/office/powerpoint/2010/main" val="913137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9C1637-E092-75BB-9D72-6FE1562CC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39" y="195073"/>
            <a:ext cx="11876625" cy="737297"/>
          </a:xfrm>
        </p:spPr>
        <p:txBody>
          <a:bodyPr/>
          <a:lstStyle/>
          <a:p>
            <a:r>
              <a:rPr lang="en-US" sz="3600" dirty="0"/>
              <a:t>NTN is complementary (not a mobile network replacement)</a:t>
            </a:r>
          </a:p>
        </p:txBody>
      </p:sp>
      <p:pic>
        <p:nvPicPr>
          <p:cNvPr id="3" name="Picture 2" descr="Urban Icons - Free SVG &amp; PNG Urban Images - Noun Project">
            <a:extLst>
              <a:ext uri="{FF2B5EF4-FFF2-40B4-BE49-F238E27FC236}">
                <a16:creationId xmlns:a16="http://schemas.microsoft.com/office/drawing/2014/main" id="{A7FE7C86-95C8-204F-79FA-CBDD88A8E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1498" y="3928528"/>
            <a:ext cx="510493" cy="51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DBDAB73-DF5D-0DA2-1A4D-48027A8B2233}"/>
              </a:ext>
            </a:extLst>
          </p:cNvPr>
          <p:cNvSpPr txBox="1">
            <a:spLocks/>
          </p:cNvSpPr>
          <p:nvPr/>
        </p:nvSpPr>
        <p:spPr>
          <a:xfrm>
            <a:off x="243839" y="1187533"/>
            <a:ext cx="4874498" cy="4776994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515104" indent="-51510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4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116060" indent="-42925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17014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03820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090626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777432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64238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51044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37850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The amount of spectrum allocated to NTN vs terrestrial is a major contributor when comparing system capacity.</a:t>
            </a:r>
          </a:p>
          <a:p>
            <a:pPr marL="0" indent="0">
              <a:buNone/>
            </a:pPr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Terrestrial Mobile Networks are able to increase capacity by adding more cells (sites) to densify the capacity of the network.</a:t>
            </a:r>
          </a:p>
          <a:p>
            <a:pPr marL="514985" indent="-514985"/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NTN networks have an advantage of providing coverage over wide areas, however the capacity per square mile is fixed.</a:t>
            </a:r>
          </a:p>
          <a:p>
            <a:pPr marL="514985" indent="-514985"/>
            <a:endParaRPr lang="en-US" sz="20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2000">
                <a:solidFill>
                  <a:schemeClr val="tx1"/>
                </a:solidFill>
                <a:latin typeface="+mn-lt"/>
              </a:rPr>
              <a:t>NTN has challenges providing additional capacity if the traffic demand is localized.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C7A1F459-B0DC-79FC-2439-A2831494EF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1416284"/>
              </p:ext>
            </p:extLst>
          </p:nvPr>
        </p:nvGraphicFramePr>
        <p:xfrm>
          <a:off x="3797207" y="2697885"/>
          <a:ext cx="4917440" cy="2709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BBBBEBC-9FAE-1D82-2640-675CDFB175CC}"/>
              </a:ext>
            </a:extLst>
          </p:cNvPr>
          <p:cNvSpPr/>
          <p:nvPr/>
        </p:nvSpPr>
        <p:spPr>
          <a:xfrm>
            <a:off x="6772991" y="4673216"/>
            <a:ext cx="418502" cy="323762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4C31AED-39CF-8443-3A36-66AF18C021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360368"/>
              </p:ext>
            </p:extLst>
          </p:nvPr>
        </p:nvGraphicFramePr>
        <p:xfrm>
          <a:off x="5650592" y="3639835"/>
          <a:ext cx="2879090" cy="1651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2F100EA4-BC54-4B70-55E2-D51FFCC2B0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8126742"/>
              </p:ext>
            </p:extLst>
          </p:nvPr>
        </p:nvGraphicFramePr>
        <p:xfrm>
          <a:off x="6726427" y="4117170"/>
          <a:ext cx="1851660" cy="1105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9179F38F-0D85-3574-697B-DE27D31EEB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7832741"/>
              </p:ext>
            </p:extLst>
          </p:nvPr>
        </p:nvGraphicFramePr>
        <p:xfrm>
          <a:off x="7867725" y="2582257"/>
          <a:ext cx="4917440" cy="2709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5E623C4-2BB8-1E25-42C0-721EB6A8EFB2}"/>
              </a:ext>
            </a:extLst>
          </p:cNvPr>
          <p:cNvSpPr/>
          <p:nvPr/>
        </p:nvSpPr>
        <p:spPr>
          <a:xfrm>
            <a:off x="8769757" y="1749183"/>
            <a:ext cx="3235079" cy="3313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TN Fixed Coverage Gri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56A29D-1931-F008-DCDA-E3E628168142}"/>
              </a:ext>
            </a:extLst>
          </p:cNvPr>
          <p:cNvSpPr/>
          <p:nvPr/>
        </p:nvSpPr>
        <p:spPr>
          <a:xfrm>
            <a:off x="5326507" y="1729727"/>
            <a:ext cx="3235080" cy="3313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obile Network Density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A81EA65-87B7-E97F-BB39-2078A67C83A4}"/>
              </a:ext>
            </a:extLst>
          </p:cNvPr>
          <p:cNvSpPr>
            <a:spLocks noGrp="1"/>
          </p:cNvSpPr>
          <p:nvPr/>
        </p:nvSpPr>
        <p:spPr>
          <a:xfrm>
            <a:off x="5185201" y="2200699"/>
            <a:ext cx="1263222" cy="410217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accent1"/>
                </a:solidFill>
              </a:rPr>
              <a:t>Rural Areas</a:t>
            </a:r>
          </a:p>
        </p:txBody>
      </p:sp>
      <p:pic>
        <p:nvPicPr>
          <p:cNvPr id="18" name="Graphic 17" descr="Cell Tower with solid fill">
            <a:extLst>
              <a:ext uri="{FF2B5EF4-FFF2-40B4-BE49-F238E27FC236}">
                <a16:creationId xmlns:a16="http://schemas.microsoft.com/office/drawing/2014/main" id="{77A0BE2A-AD05-A58E-F21C-AD05DE949B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478639" y="2852127"/>
            <a:ext cx="460797" cy="460797"/>
          </a:xfrm>
          <a:prstGeom prst="rect">
            <a:avLst/>
          </a:prstGeom>
        </p:spPr>
      </p:pic>
      <p:pic>
        <p:nvPicPr>
          <p:cNvPr id="19" name="Graphic 18" descr="Cell Tower with solid fill">
            <a:extLst>
              <a:ext uri="{FF2B5EF4-FFF2-40B4-BE49-F238E27FC236}">
                <a16:creationId xmlns:a16="http://schemas.microsoft.com/office/drawing/2014/main" id="{438E12DD-3106-FD94-8D8E-0D31781D3B6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068207" y="3736566"/>
            <a:ext cx="246573" cy="246573"/>
          </a:xfrm>
          <a:prstGeom prst="rect">
            <a:avLst/>
          </a:prstGeom>
        </p:spPr>
      </p:pic>
      <p:pic>
        <p:nvPicPr>
          <p:cNvPr id="20" name="Graphic 19" descr="Cell Tower with solid fill">
            <a:extLst>
              <a:ext uri="{FF2B5EF4-FFF2-40B4-BE49-F238E27FC236}">
                <a16:creationId xmlns:a16="http://schemas.microsoft.com/office/drawing/2014/main" id="{175DA18E-78D9-CD68-48F8-BB7DC2CF34D6}"/>
              </a:ext>
            </a:extLst>
          </p:cNvPr>
          <p:cNvPicPr>
            <a:picLocks noChangeAspect="1"/>
          </p:cNvPicPr>
          <p:nvPr/>
        </p:nvPicPr>
        <p:blipFill>
          <a:blip r:embed="rId24">
            <a:lum bright="70000" contrast="-70000"/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644132" y="4191755"/>
            <a:ext cx="172307" cy="172307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284BD796-CFB8-AA05-B26E-D16C2A943979}"/>
              </a:ext>
            </a:extLst>
          </p:cNvPr>
          <p:cNvSpPr>
            <a:spLocks noGrp="1"/>
          </p:cNvSpPr>
          <p:nvPr/>
        </p:nvSpPr>
        <p:spPr>
          <a:xfrm>
            <a:off x="6448423" y="3075485"/>
            <a:ext cx="1758846" cy="410217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Urban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8A5FE0D-59E3-C37F-223E-FE0AEC3BBEDA}"/>
              </a:ext>
            </a:extLst>
          </p:cNvPr>
          <p:cNvSpPr>
            <a:spLocks noGrp="1"/>
          </p:cNvSpPr>
          <p:nvPr/>
        </p:nvSpPr>
        <p:spPr>
          <a:xfrm>
            <a:off x="7085025" y="3629630"/>
            <a:ext cx="1851660" cy="410217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tx1"/>
                </a:solidFill>
              </a:rPr>
              <a:t>Dense Urban</a:t>
            </a:r>
          </a:p>
        </p:txBody>
      </p:sp>
      <p:pic>
        <p:nvPicPr>
          <p:cNvPr id="23" name="Graphic 22" descr="Satellite with solid fill">
            <a:extLst>
              <a:ext uri="{FF2B5EF4-FFF2-40B4-BE49-F238E27FC236}">
                <a16:creationId xmlns:a16="http://schemas.microsoft.com/office/drawing/2014/main" id="{8AA8320A-81B3-5463-A693-59113C3E80C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43843" y="2759098"/>
            <a:ext cx="578123" cy="578123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877B4F56-9296-7054-C92D-C2D17B423153}"/>
              </a:ext>
            </a:extLst>
          </p:cNvPr>
          <p:cNvSpPr>
            <a:spLocks noGrp="1"/>
          </p:cNvSpPr>
          <p:nvPr/>
        </p:nvSpPr>
        <p:spPr>
          <a:xfrm>
            <a:off x="9240811" y="2200699"/>
            <a:ext cx="1758846" cy="410217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 sz="1600">
                <a:solidFill>
                  <a:schemeClr val="accent1"/>
                </a:solidFill>
              </a:rPr>
              <a:t>All Areas</a:t>
            </a:r>
          </a:p>
        </p:txBody>
      </p:sp>
      <p:pic>
        <p:nvPicPr>
          <p:cNvPr id="25" name="Picture 8" descr="Mountain - Free nature icons">
            <a:extLst>
              <a:ext uri="{FF2B5EF4-FFF2-40B4-BE49-F238E27FC236}">
                <a16:creationId xmlns:a16="http://schemas.microsoft.com/office/drawing/2014/main" id="{440F155C-280A-B445-C042-4F8B209BA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1435" y="2236583"/>
            <a:ext cx="445270" cy="44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Graphic 25" descr="Building with solid fill">
            <a:extLst>
              <a:ext uri="{FF2B5EF4-FFF2-40B4-BE49-F238E27FC236}">
                <a16:creationId xmlns:a16="http://schemas.microsoft.com/office/drawing/2014/main" id="{D80065E3-33AE-4076-DCC6-C2B35918300E}"/>
              </a:ext>
            </a:extLst>
          </p:cNvPr>
          <p:cNvPicPr>
            <a:picLocks noChangeAspect="1"/>
          </p:cNvPicPr>
          <p:nvPr/>
        </p:nvPicPr>
        <p:blipFill>
          <a:blip r:embed="rId2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256048" y="3376230"/>
            <a:ext cx="316852" cy="31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605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9C1637-E092-75BB-9D72-6FE1562CC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Service Offering and Emergency Coverage Enablement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6AF611-1D31-7F78-72F5-39AB2F5C920F}"/>
              </a:ext>
            </a:extLst>
          </p:cNvPr>
          <p:cNvSpPr txBox="1">
            <a:spLocks/>
          </p:cNvSpPr>
          <p:nvPr/>
        </p:nvSpPr>
        <p:spPr>
          <a:xfrm>
            <a:off x="238158" y="1351478"/>
            <a:ext cx="6507199" cy="4436258"/>
          </a:xfrm>
        </p:spPr>
        <p:txBody>
          <a:bodyPr vert="horz" lIns="91440" tIns="45720" rIns="91440" bIns="45720" rtlCol="0" anchor="ctr">
            <a:normAutofit/>
          </a:bodyPr>
          <a:lstStyle>
            <a:lvl1pPr marL="515104" indent="-51510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4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116060" indent="-42925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17014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03820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090626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777432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64238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51044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37850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985" indent="-514985"/>
            <a:r>
              <a:rPr lang="en-US" sz="1800">
                <a:solidFill>
                  <a:schemeClr val="tx1"/>
                </a:solidFill>
                <a:latin typeface="+mn-lt"/>
              </a:rPr>
              <a:t>Vision to provide text message coverage, including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Text to 911 and WEA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practically everywhere in continental US, Hawaii, parts of Alaska, Puerto Rico and territorial waters. (</a:t>
            </a:r>
            <a:r>
              <a:rPr lang="en-US" sz="1800" err="1">
                <a:solidFill>
                  <a:schemeClr val="tx1"/>
                </a:solidFill>
                <a:latin typeface="+mn-lt"/>
              </a:rPr>
              <a:t>i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)</a:t>
            </a:r>
          </a:p>
          <a:p>
            <a:pPr marL="514985" indent="-514985"/>
            <a:endParaRPr lang="en-US" sz="18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>
                <a:solidFill>
                  <a:schemeClr val="tx1"/>
                </a:solidFill>
                <a:latin typeface="+mn-lt"/>
              </a:rPr>
              <a:t>In Florida over the first 48 hours, the service was used to broadcast over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120 Wireless Emergency Alerts (WEA)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from public safety agencies — hurricane warnings, evacuation notices, flood warnings — both in advance of Milton and when it made landfall. It has also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enabled over 100K SMS messages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to be sent and received. (ii)</a:t>
            </a:r>
          </a:p>
          <a:p>
            <a:pPr marL="514985" indent="-514985"/>
            <a:endParaRPr lang="en-US" sz="18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>
                <a:solidFill>
                  <a:schemeClr val="tx1"/>
                </a:solidFill>
                <a:latin typeface="+mn-lt"/>
              </a:rPr>
              <a:t>T-Mobile’s Starlink Direct-to-Cellular was enabled in the greater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Los Angeles area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. During the 1</a:t>
            </a:r>
            <a:r>
              <a:rPr lang="en-US" sz="1800" baseline="30000">
                <a:solidFill>
                  <a:schemeClr val="tx1"/>
                </a:solidFill>
                <a:latin typeface="+mn-lt"/>
              </a:rPr>
              <a:t>st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 week have served approximately 198,000 users, sent/received around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96,000 SMS messages and transmitted 21 wireless alerts (WEA)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. (ii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3C78ED-E132-4B31-D60C-69D243A4B6E3}"/>
              </a:ext>
            </a:extLst>
          </p:cNvPr>
          <p:cNvSpPr txBox="1"/>
          <p:nvPr/>
        </p:nvSpPr>
        <p:spPr>
          <a:xfrm>
            <a:off x="913675" y="6150114"/>
            <a:ext cx="61077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AutoNum type="romanLcParenBoth"/>
            </a:pPr>
            <a:r>
              <a:rPr lang="en-US" sz="1000">
                <a:cs typeface="Arial" pitchFamily="34" charset="0"/>
              </a:rPr>
              <a:t>Source: </a:t>
            </a:r>
            <a:r>
              <a:rPr lang="en-US" sz="1000">
                <a:cs typeface="Arial" pitchFamily="34" charset="0"/>
                <a:hlinkClick r:id="rId3"/>
              </a:rPr>
              <a:t>https://www.t-mobile.com/news/un-carrier/t-mobile-takes-coverage-above-and-beyond-with-spacex</a:t>
            </a:r>
            <a:endParaRPr lang="en-US" sz="100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1000">
                <a:cs typeface="Arial" pitchFamily="34" charset="0"/>
              </a:rPr>
              <a:t>Source: </a:t>
            </a:r>
            <a:r>
              <a:rPr lang="en-US" sz="1000">
                <a:cs typeface="Arial" pitchFamily="34" charset="0"/>
                <a:hlinkClick r:id="rId4"/>
              </a:rPr>
              <a:t>https://www.t-mobile.com/news/network/hurricane-milton</a:t>
            </a:r>
            <a:endParaRPr lang="en-US" sz="100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r>
              <a:rPr lang="en-US" sz="1000">
                <a:cs typeface="Arial" pitchFamily="34" charset="0"/>
              </a:rPr>
              <a:t>Source: </a:t>
            </a:r>
            <a:r>
              <a:rPr lang="en-US" sz="1000">
                <a:cs typeface="Arial" pitchFamily="34" charset="0"/>
                <a:hlinkClick r:id="rId5"/>
              </a:rPr>
              <a:t>https://www.t-mobile.com/news/network/t-mobile-stands-prepared-as-wildfires-impact-southern-california</a:t>
            </a:r>
            <a:endParaRPr lang="en-US" sz="1000">
              <a:cs typeface="Arial" pitchFamily="34" charset="0"/>
            </a:endParaRPr>
          </a:p>
          <a:p>
            <a:pPr marL="285750" indent="-285750" algn="l">
              <a:buAutoNum type="romanLcParenBoth"/>
            </a:pPr>
            <a:endParaRPr lang="en-US" sz="1000">
              <a:cs typeface="Arial" pitchFamily="34" charset="0"/>
            </a:endParaRPr>
          </a:p>
        </p:txBody>
      </p:sp>
      <p:pic>
        <p:nvPicPr>
          <p:cNvPr id="6" name="Picture 10">
            <a:extLst>
              <a:ext uri="{FF2B5EF4-FFF2-40B4-BE49-F238E27FC236}">
                <a16:creationId xmlns:a16="http://schemas.microsoft.com/office/drawing/2014/main" id="{95E56435-E303-C175-005F-EA25645531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491" y="4164028"/>
            <a:ext cx="4128834" cy="2064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urricane Milton live updates Tuesday">
            <a:extLst>
              <a:ext uri="{FF2B5EF4-FFF2-40B4-BE49-F238E27FC236}">
                <a16:creationId xmlns:a16="http://schemas.microsoft.com/office/drawing/2014/main" id="{843622AE-4CC3-D393-F95C-5B07B5ACB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491" y="1276860"/>
            <a:ext cx="4128834" cy="2321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842910E-D8DF-B823-49C9-61FBB9CB9A8D}"/>
              </a:ext>
            </a:extLst>
          </p:cNvPr>
          <p:cNvSpPr>
            <a:spLocks noGrp="1"/>
          </p:cNvSpPr>
          <p:nvPr/>
        </p:nvSpPr>
        <p:spPr>
          <a:xfrm>
            <a:off x="6463063" y="899952"/>
            <a:ext cx="5501689" cy="471773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>
                <a:solidFill>
                  <a:schemeClr val="accent1"/>
                </a:solidFill>
              </a:rPr>
              <a:t>Hurricane Milton near Florida (Oct. 2024)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F2EE6F-8E00-9399-EFE5-1FB03F4360BD}"/>
              </a:ext>
            </a:extLst>
          </p:cNvPr>
          <p:cNvSpPr>
            <a:spLocks noGrp="1"/>
          </p:cNvSpPr>
          <p:nvPr/>
        </p:nvSpPr>
        <p:spPr>
          <a:xfrm>
            <a:off x="6452153" y="3724673"/>
            <a:ext cx="5501689" cy="471773"/>
          </a:xfrm>
          <a:prstGeom prst="rect">
            <a:avLst/>
          </a:prstGeom>
        </p:spPr>
        <p:txBody>
          <a:bodyPr vert="horz" wrap="square" lIns="162409" tIns="81205" rIns="162409" bIns="81205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E20074"/>
                </a:solidFill>
                <a:latin typeface="Tele-GroteskFet" pitchFamily="2" charset="0"/>
                <a:ea typeface="+mj-ea"/>
                <a:cs typeface="Tele-GroteskFet" pitchFamily="2" charset="0"/>
              </a:defRPr>
            </a:lvl1pPr>
          </a:lstStyle>
          <a:p>
            <a:pPr algn="ctr"/>
            <a:r>
              <a:rPr lang="en-US">
                <a:solidFill>
                  <a:schemeClr val="accent1"/>
                </a:solidFill>
              </a:rPr>
              <a:t>Wild Fires near Los Angeles (Jan. 2025)</a:t>
            </a:r>
          </a:p>
        </p:txBody>
      </p:sp>
    </p:spTree>
    <p:extLst>
      <p:ext uri="{BB962C8B-B14F-4D97-AF65-F5344CB8AC3E}">
        <p14:creationId xmlns:p14="http://schemas.microsoft.com/office/powerpoint/2010/main" val="3484468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07A32-670E-ECEE-7318-92F665F21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41B27BB-1312-E4CC-7737-6CF151CF7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Devices with the service will continue to grow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3801C75-0BFC-4291-C312-C4BB53A7C97D}"/>
              </a:ext>
            </a:extLst>
          </p:cNvPr>
          <p:cNvSpPr txBox="1">
            <a:spLocks/>
          </p:cNvSpPr>
          <p:nvPr/>
        </p:nvSpPr>
        <p:spPr>
          <a:xfrm>
            <a:off x="238158" y="1351477"/>
            <a:ext cx="7921104" cy="5101587"/>
          </a:xfrm>
        </p:spPr>
        <p:txBody>
          <a:bodyPr vert="horz" lIns="91440" tIns="45720" rIns="91440" bIns="45720" rtlCol="0" anchor="ctr">
            <a:normAutofit/>
          </a:bodyPr>
          <a:lstStyle>
            <a:lvl1pPr marL="515104" indent="-51510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4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116060" indent="-429254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17014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03820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090626" indent="-343402" algn="l" defTabSz="686806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777432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64238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51044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37850" indent="-343402" algn="l" defTabSz="686806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chemeClr val="tx1"/>
                </a:solidFill>
                <a:latin typeface="+mn-lt"/>
              </a:rPr>
              <a:t>Satellite networks work differently from traditional cellular networks, so to ensure the best possible experience, </a:t>
            </a:r>
            <a:r>
              <a:rPr lang="en-US" sz="1800">
                <a:solidFill>
                  <a:schemeClr val="accent1"/>
                </a:solidFill>
                <a:latin typeface="+mn-lt"/>
              </a:rPr>
              <a:t>smartphones need to be satellite optimized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. We’re collaborating with our handset partners to optimize as many smartphones as possible, starting with newer devices.</a:t>
            </a:r>
          </a:p>
          <a:p>
            <a:pPr marL="514985" indent="-514985"/>
            <a:r>
              <a:rPr lang="en-US" sz="1800">
                <a:solidFill>
                  <a:schemeClr val="tx1"/>
                </a:solidFill>
                <a:latin typeface="+mn-lt"/>
              </a:rPr>
              <a:t>These devices will work with T-Mobile Starlink (this list will be updated over time in 2025) (i):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Apple iPhone 14 and later (including Plus, Pro &amp; Pro Max)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Google Pixel 9 (including Pro, Pro Fold, &amp; Pro XL)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Motorola 2024 and later (including </a:t>
            </a:r>
            <a:r>
              <a:rPr lang="en-US" sz="1400" err="1">
                <a:solidFill>
                  <a:schemeClr val="tx1"/>
                </a:solidFill>
                <a:latin typeface="+mn-lt"/>
              </a:rPr>
              <a:t>razr</a:t>
            </a:r>
            <a:r>
              <a:rPr lang="en-US" sz="140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</a:rPr>
              <a:t>razr</a:t>
            </a:r>
            <a:r>
              <a:rPr lang="en-US" sz="1400">
                <a:solidFill>
                  <a:schemeClr val="tx1"/>
                </a:solidFill>
                <a:latin typeface="+mn-lt"/>
              </a:rPr>
              <a:t>+, edge and g series)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Samsung Galaxy A14, A15, A16, A35, A53, A54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Samsung Galaxy S21 and later (including Plus, Ultra and Fan Edition)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Samsung Galaxy X Cover6 Pro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Samsung Galaxy Z Flip3 and later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Samsung Galaxy Z Fold3 and later</a:t>
            </a:r>
          </a:p>
          <a:p>
            <a:pPr marL="1115941" lvl="1" indent="-514985"/>
            <a:r>
              <a:rPr lang="en-US" sz="1400">
                <a:solidFill>
                  <a:schemeClr val="tx1"/>
                </a:solidFill>
                <a:latin typeface="+mn-lt"/>
              </a:rPr>
              <a:t>REVVL 7 (including Pro)</a:t>
            </a:r>
          </a:p>
          <a:p>
            <a:pPr marL="514985" indent="-514985"/>
            <a:endParaRPr lang="en-US" sz="600">
              <a:solidFill>
                <a:schemeClr val="tx1"/>
              </a:solidFill>
              <a:latin typeface="+mn-lt"/>
            </a:endParaRPr>
          </a:p>
          <a:p>
            <a:pPr marL="514985" indent="-514985"/>
            <a:r>
              <a:rPr lang="en-US" sz="1800">
                <a:solidFill>
                  <a:schemeClr val="tx1"/>
                </a:solidFill>
                <a:latin typeface="+mn-lt"/>
              </a:rPr>
              <a:t>WEA also made available to non-optimized devices regardless of carrier. </a:t>
            </a:r>
          </a:p>
          <a:p>
            <a:pPr marL="0" indent="0">
              <a:buNone/>
            </a:pPr>
            <a:endParaRPr lang="en-US" sz="1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619879-EB26-6AE1-F449-6C5D4FA6124F}"/>
              </a:ext>
            </a:extLst>
          </p:cNvPr>
          <p:cNvSpPr txBox="1"/>
          <p:nvPr/>
        </p:nvSpPr>
        <p:spPr>
          <a:xfrm>
            <a:off x="7775321" y="6206844"/>
            <a:ext cx="38331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AutoNum type="romanLcParenBoth"/>
            </a:pPr>
            <a:r>
              <a:rPr lang="en-US" sz="1000">
                <a:cs typeface="Arial" pitchFamily="34" charset="0"/>
              </a:rPr>
              <a:t>Source: </a:t>
            </a:r>
            <a:r>
              <a:rPr lang="en-US" sz="1000">
                <a:cs typeface="Arial" pitchFamily="34" charset="0"/>
                <a:hlinkClick r:id="rId3"/>
              </a:rPr>
              <a:t>https://www.t-mobile.com/coverage/satellite-phone-service</a:t>
            </a:r>
            <a:endParaRPr lang="en-US" sz="1000">
              <a:cs typeface="Arial" pitchFamily="34" charset="0"/>
            </a:endParaRPr>
          </a:p>
        </p:txBody>
      </p:sp>
      <p:pic>
        <p:nvPicPr>
          <p:cNvPr id="8" name="Graphic 7" descr="Smart Phone with solid fill">
            <a:extLst>
              <a:ext uri="{FF2B5EF4-FFF2-40B4-BE49-F238E27FC236}">
                <a16:creationId xmlns:a16="http://schemas.microsoft.com/office/drawing/2014/main" id="{2204CC12-02E3-2558-6D98-F197709B74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40234" y="1719548"/>
            <a:ext cx="4068188" cy="406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048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B11B1474-8C06-569E-AF20-A53893235B6C}"/>
              </a:ext>
            </a:extLst>
          </p:cNvPr>
          <p:cNvSpPr/>
          <p:nvPr/>
        </p:nvSpPr>
        <p:spPr>
          <a:xfrm>
            <a:off x="6727265" y="5576384"/>
            <a:ext cx="920870" cy="7211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Text Rela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0AA1A6-3149-67F8-AE2E-B7C09BA83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to 911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6DDED35-6950-3E9B-DA92-8C3CD8DA2D83}"/>
              </a:ext>
            </a:extLst>
          </p:cNvPr>
          <p:cNvSpPr/>
          <p:nvPr/>
        </p:nvSpPr>
        <p:spPr>
          <a:xfrm>
            <a:off x="4433544" y="4319453"/>
            <a:ext cx="813429" cy="76310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Text Control</a:t>
            </a:r>
            <a:r>
              <a:rPr lang="en-US" sz="1200">
                <a:solidFill>
                  <a:srgbClr val="000000"/>
                </a:solidFill>
                <a:latin typeface="Tele-GroteskNor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Center (TCC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9FFEDD8-01B1-81B5-A409-323C117B56D1}"/>
              </a:ext>
            </a:extLst>
          </p:cNvPr>
          <p:cNvSpPr/>
          <p:nvPr/>
        </p:nvSpPr>
        <p:spPr>
          <a:xfrm>
            <a:off x="8988294" y="4333348"/>
            <a:ext cx="931959" cy="71313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PSA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42CE00-851A-C9ED-405A-4F353FB1CB3A}"/>
              </a:ext>
            </a:extLst>
          </p:cNvPr>
          <p:cNvSpPr txBox="1"/>
          <p:nvPr/>
        </p:nvSpPr>
        <p:spPr>
          <a:xfrm>
            <a:off x="9733626" y="5879097"/>
            <a:ext cx="13128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Text to 911 Path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F13B286-9F9C-F903-6953-A284E242F2CC}"/>
              </a:ext>
            </a:extLst>
          </p:cNvPr>
          <p:cNvCxnSpPr>
            <a:cxnSpLocks/>
          </p:cNvCxnSpPr>
          <p:nvPr/>
        </p:nvCxnSpPr>
        <p:spPr>
          <a:xfrm>
            <a:off x="9178317" y="6053153"/>
            <a:ext cx="419543" cy="1"/>
          </a:xfrm>
          <a:prstGeom prst="line">
            <a:avLst/>
          </a:prstGeom>
          <a:ln w="28575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9670E91-14BA-3A9F-2B7A-73BE7C0EF1F5}"/>
              </a:ext>
            </a:extLst>
          </p:cNvPr>
          <p:cNvCxnSpPr>
            <a:cxnSpLocks/>
          </p:cNvCxnSpPr>
          <p:nvPr/>
        </p:nvCxnSpPr>
        <p:spPr>
          <a:xfrm>
            <a:off x="9178317" y="6287867"/>
            <a:ext cx="419543" cy="0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AC99801-714B-C0C7-D135-B8E5A338EC7D}"/>
              </a:ext>
            </a:extLst>
          </p:cNvPr>
          <p:cNvSpPr txBox="1"/>
          <p:nvPr/>
        </p:nvSpPr>
        <p:spPr>
          <a:xfrm>
            <a:off x="4367196" y="3820818"/>
            <a:ext cx="1003817" cy="267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Nor" pitchFamily="2" charset="0"/>
                <a:ea typeface="+mn-ea"/>
                <a:cs typeface="Arial" pitchFamily="34" charset="0"/>
              </a:rPr>
              <a:t>PSAP Routing</a:t>
            </a:r>
          </a:p>
        </p:txBody>
      </p:sp>
      <p:pic>
        <p:nvPicPr>
          <p:cNvPr id="25" name="Graphic 24" descr="Cell Tower with solid fill">
            <a:extLst>
              <a:ext uri="{FF2B5EF4-FFF2-40B4-BE49-F238E27FC236}">
                <a16:creationId xmlns:a16="http://schemas.microsoft.com/office/drawing/2014/main" id="{D9C008C9-52CD-77EB-8107-285A21CFB0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8523" y="3662862"/>
            <a:ext cx="410968" cy="44595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22A644B-D019-13A8-4F89-14D5A3DADC16}"/>
              </a:ext>
            </a:extLst>
          </p:cNvPr>
          <p:cNvSpPr/>
          <p:nvPr/>
        </p:nvSpPr>
        <p:spPr>
          <a:xfrm>
            <a:off x="358314" y="4576089"/>
            <a:ext cx="1622794" cy="279343"/>
          </a:xfrm>
          <a:prstGeom prst="ellipse">
            <a:avLst/>
          </a:prstGeom>
          <a:solidFill>
            <a:schemeClr val="bg2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SCS</a:t>
            </a:r>
          </a:p>
        </p:txBody>
      </p:sp>
      <p:pic>
        <p:nvPicPr>
          <p:cNvPr id="27" name="Graphic 26" descr="Satellite with solid fill">
            <a:extLst>
              <a:ext uri="{FF2B5EF4-FFF2-40B4-BE49-F238E27FC236}">
                <a16:creationId xmlns:a16="http://schemas.microsoft.com/office/drawing/2014/main" id="{32582FD7-7789-0A63-C535-258F677A82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7862" y="4281686"/>
            <a:ext cx="339586" cy="36849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AA6A220-F598-5EF6-F34C-71B0D1B4E45C}"/>
              </a:ext>
            </a:extLst>
          </p:cNvPr>
          <p:cNvCxnSpPr>
            <a:cxnSpLocks/>
            <a:stCxn id="26" idx="6"/>
            <a:endCxn id="30" idx="1"/>
          </p:cNvCxnSpPr>
          <p:nvPr/>
        </p:nvCxnSpPr>
        <p:spPr>
          <a:xfrm flipV="1">
            <a:off x="1981108" y="4703794"/>
            <a:ext cx="661752" cy="11967"/>
          </a:xfrm>
          <a:prstGeom prst="line">
            <a:avLst/>
          </a:prstGeom>
          <a:ln w="28575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phic 28" descr="Smart Phone with solid fill">
            <a:extLst>
              <a:ext uri="{FF2B5EF4-FFF2-40B4-BE49-F238E27FC236}">
                <a16:creationId xmlns:a16="http://schemas.microsoft.com/office/drawing/2014/main" id="{944C75FC-054E-A0DF-D9C2-B8F0EFE488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171" y="4317436"/>
            <a:ext cx="273694" cy="296994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A29939A-6B9E-3D26-D872-DF05D3CC36E2}"/>
              </a:ext>
            </a:extLst>
          </p:cNvPr>
          <p:cNvSpPr/>
          <p:nvPr/>
        </p:nvSpPr>
        <p:spPr>
          <a:xfrm>
            <a:off x="2642860" y="4322242"/>
            <a:ext cx="813429" cy="76310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MNO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128B595-09BE-489C-4000-2BB2EA462D9D}"/>
              </a:ext>
            </a:extLst>
          </p:cNvPr>
          <p:cNvCxnSpPr>
            <a:cxnSpLocks/>
            <a:stCxn id="30" idx="3"/>
            <a:endCxn id="16" idx="1"/>
          </p:cNvCxnSpPr>
          <p:nvPr/>
        </p:nvCxnSpPr>
        <p:spPr>
          <a:xfrm flipV="1">
            <a:off x="3456289" y="4701005"/>
            <a:ext cx="977255" cy="2789"/>
          </a:xfrm>
          <a:prstGeom prst="line">
            <a:avLst/>
          </a:prstGeom>
          <a:ln w="28575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2D376F9-33E4-54F9-DC16-6FCEC525F9AB}"/>
              </a:ext>
            </a:extLst>
          </p:cNvPr>
          <p:cNvCxnSpPr>
            <a:cxnSpLocks/>
            <a:stCxn id="16" idx="3"/>
            <a:endCxn id="18" idx="2"/>
          </p:cNvCxnSpPr>
          <p:nvPr/>
        </p:nvCxnSpPr>
        <p:spPr>
          <a:xfrm flipV="1">
            <a:off x="5246973" y="4689914"/>
            <a:ext cx="3741321" cy="11091"/>
          </a:xfrm>
          <a:prstGeom prst="line">
            <a:avLst/>
          </a:prstGeom>
          <a:ln w="28575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phic 35" descr="Call center with solid fill">
            <a:extLst>
              <a:ext uri="{FF2B5EF4-FFF2-40B4-BE49-F238E27FC236}">
                <a16:creationId xmlns:a16="http://schemas.microsoft.com/office/drawing/2014/main" id="{282B9C88-487C-B3E5-088A-6A27C518E1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17160" y="4333348"/>
            <a:ext cx="657185" cy="713132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9090544-5E39-2E0D-96F7-248972D61454}"/>
              </a:ext>
            </a:extLst>
          </p:cNvPr>
          <p:cNvCxnSpPr>
            <a:cxnSpLocks/>
          </p:cNvCxnSpPr>
          <p:nvPr/>
        </p:nvCxnSpPr>
        <p:spPr>
          <a:xfrm>
            <a:off x="9920253" y="4619638"/>
            <a:ext cx="396907" cy="0"/>
          </a:xfrm>
          <a:prstGeom prst="line">
            <a:avLst/>
          </a:prstGeom>
          <a:ln w="28575"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F3883A4-99AF-5C17-206E-9ECBB2205630}"/>
              </a:ext>
            </a:extLst>
          </p:cNvPr>
          <p:cNvSpPr txBox="1"/>
          <p:nvPr/>
        </p:nvSpPr>
        <p:spPr>
          <a:xfrm>
            <a:off x="9548450" y="6150342"/>
            <a:ext cx="1562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Voice  911 Path 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E05F07A-F342-B89D-0760-2472C62C27BE}"/>
              </a:ext>
            </a:extLst>
          </p:cNvPr>
          <p:cNvCxnSpPr>
            <a:cxnSpLocks/>
            <a:stCxn id="61" idx="3"/>
            <a:endCxn id="18" idx="3"/>
          </p:cNvCxnSpPr>
          <p:nvPr/>
        </p:nvCxnSpPr>
        <p:spPr>
          <a:xfrm flipV="1">
            <a:off x="7648135" y="4942044"/>
            <a:ext cx="1476641" cy="994892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963C150-A2B5-30EB-B473-065F9B7E7FE9}"/>
              </a:ext>
            </a:extLst>
          </p:cNvPr>
          <p:cNvCxnSpPr>
            <a:cxnSpLocks/>
          </p:cNvCxnSpPr>
          <p:nvPr/>
        </p:nvCxnSpPr>
        <p:spPr>
          <a:xfrm>
            <a:off x="9920253" y="4750354"/>
            <a:ext cx="396907" cy="0"/>
          </a:xfrm>
          <a:prstGeom prst="line">
            <a:avLst/>
          </a:prstGeom>
          <a:ln w="28575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44" descr="Call center with solid fill">
            <a:extLst>
              <a:ext uri="{FF2B5EF4-FFF2-40B4-BE49-F238E27FC236}">
                <a16:creationId xmlns:a16="http://schemas.microsoft.com/office/drawing/2014/main" id="{CF08A7F3-7DD5-BF7D-E77D-49D5311CC9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22866" y="5309701"/>
            <a:ext cx="451543" cy="451543"/>
          </a:xfrm>
          <a:prstGeom prst="rect">
            <a:avLst/>
          </a:prstGeom>
        </p:spPr>
      </p:pic>
      <p:sp>
        <p:nvSpPr>
          <p:cNvPr id="46" name="Content Placeholder 5">
            <a:extLst>
              <a:ext uri="{FF2B5EF4-FFF2-40B4-BE49-F238E27FC236}">
                <a16:creationId xmlns:a16="http://schemas.microsoft.com/office/drawing/2014/main" id="{769C110A-78E7-2DAD-B6A3-51E1CD08203F}"/>
              </a:ext>
            </a:extLst>
          </p:cNvPr>
          <p:cNvSpPr txBox="1">
            <a:spLocks/>
          </p:cNvSpPr>
          <p:nvPr/>
        </p:nvSpPr>
        <p:spPr>
          <a:xfrm>
            <a:off x="724018" y="1036029"/>
            <a:ext cx="10322479" cy="1710969"/>
          </a:xfrm>
        </p:spPr>
        <p:txBody>
          <a:bodyPr lIns="91440" tIns="45720" rIns="91440" bIns="45720" anchor="t">
            <a:noAutofit/>
          </a:bodyPr>
          <a:lstStyle>
            <a:lvl1pPr marL="257552" indent="-257552" algn="l" defTabSz="34340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58030" indent="-214627" algn="l" defTabSz="34340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58507" indent="-171701" algn="l" defTabSz="34340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5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01910" indent="-171701" algn="l" defTabSz="34340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5313" indent="-171701" algn="l" defTabSz="343403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8716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2119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5522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8925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86105" lvl="1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Routing to a local PSAP or Text Relay center is supported </a:t>
            </a:r>
          </a:p>
          <a:p>
            <a:pPr marL="586105" lvl="1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“Callback” number and precise location is supported   </a:t>
            </a:r>
          </a:p>
          <a:p>
            <a:pPr marL="586105" lvl="1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The Text Relay center covers cases where Text to 911 service to a PSAP is unavailable</a:t>
            </a:r>
          </a:p>
          <a:p>
            <a:pPr marL="886582" lvl="2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Device location unavailable</a:t>
            </a:r>
          </a:p>
          <a:p>
            <a:pPr marL="886582" lvl="2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PSAP serving the area is not text capable</a:t>
            </a:r>
          </a:p>
          <a:p>
            <a:pPr marL="586105" lvl="1" indent="-285750">
              <a:spcBef>
                <a:spcPts val="300"/>
              </a:spcBef>
              <a:buClr>
                <a:schemeClr val="tx1"/>
              </a:buClr>
              <a:defRPr/>
            </a:pPr>
            <a:r>
              <a:rPr lang="en-US" sz="1600">
                <a:latin typeface="TeleGrotesk Next" pitchFamily="2" charset="0"/>
                <a:ea typeface="TeleGrotesk Next" pitchFamily="2" charset="0"/>
                <a:cs typeface="TeleGrotesk Next" pitchFamily="2" charset="0"/>
              </a:rPr>
              <a:t>Text Relay center confirms incident information including location and brokers communication with PSAPs as needed</a:t>
            </a:r>
          </a:p>
          <a:p>
            <a:pPr marL="300355" lvl="1" indent="0">
              <a:spcBef>
                <a:spcPts val="300"/>
              </a:spcBef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ele-GroteskFet" pitchFamily="2" charset="0"/>
              <a:cs typeface="Arial"/>
            </a:endParaRPr>
          </a:p>
          <a:p>
            <a:pPr marL="557530" lvl="1" indent="-257175">
              <a:spcBef>
                <a:spcPts val="300"/>
              </a:spcBef>
              <a:defRPr/>
            </a:pP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ele-GroteskFet"/>
              <a:cs typeface="Arial"/>
            </a:endParaRPr>
          </a:p>
        </p:txBody>
      </p:sp>
      <p:pic>
        <p:nvPicPr>
          <p:cNvPr id="47" name="Graphic 46" descr="No sign outline">
            <a:extLst>
              <a:ext uri="{FF2B5EF4-FFF2-40B4-BE49-F238E27FC236}">
                <a16:creationId xmlns:a16="http://schemas.microsoft.com/office/drawing/2014/main" id="{CB444EE4-C5FE-DF5A-6CF5-A0ADD12B85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5939" y="3542833"/>
            <a:ext cx="686012" cy="686012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ABAB5DE-ED53-A92B-8E4D-9A613E6E8091}"/>
              </a:ext>
            </a:extLst>
          </p:cNvPr>
          <p:cNvSpPr txBox="1"/>
          <p:nvPr/>
        </p:nvSpPr>
        <p:spPr>
          <a:xfrm>
            <a:off x="5316916" y="3018243"/>
            <a:ext cx="2575799" cy="9541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/>
            <a:r>
              <a:rPr lang="en-US" sz="1400" i="1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“This emergency text session is over satellite. The user cannot place a voice call.  Messages may be delayed.”</a:t>
            </a:r>
            <a:endParaRPr lang="en-US" sz="1400"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CD634E4E-8B94-FBC5-BB33-5434879BB6D3}"/>
              </a:ext>
            </a:extLst>
          </p:cNvPr>
          <p:cNvCxnSpPr>
            <a:cxnSpLocks/>
          </p:cNvCxnSpPr>
          <p:nvPr/>
        </p:nvCxnSpPr>
        <p:spPr>
          <a:xfrm>
            <a:off x="5495053" y="3972350"/>
            <a:ext cx="0" cy="715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B6670E9-6FA6-9470-D187-E9B8265DE2F8}"/>
              </a:ext>
            </a:extLst>
          </p:cNvPr>
          <p:cNvCxnSpPr>
            <a:cxnSpLocks/>
            <a:endCxn id="61" idx="1"/>
          </p:cNvCxnSpPr>
          <p:nvPr/>
        </p:nvCxnSpPr>
        <p:spPr>
          <a:xfrm>
            <a:off x="5246973" y="4942044"/>
            <a:ext cx="1480292" cy="994892"/>
          </a:xfrm>
          <a:prstGeom prst="line">
            <a:avLst/>
          </a:prstGeom>
          <a:ln w="28575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43352252-BF89-3BC4-29FE-D1F5D77544C8}"/>
              </a:ext>
            </a:extLst>
          </p:cNvPr>
          <p:cNvCxnSpPr>
            <a:cxnSpLocks/>
          </p:cNvCxnSpPr>
          <p:nvPr/>
        </p:nvCxnSpPr>
        <p:spPr>
          <a:xfrm>
            <a:off x="5647453" y="3972350"/>
            <a:ext cx="0" cy="1235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75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1 - Cover Slides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noAutofit/>
      </a:bodyPr>
      <a:lstStyle>
        <a:defPPr algn="l">
          <a:defRPr dirty="0" err="1" smtClean="0">
            <a:latin typeface="+mn-lt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5468B658-E456-4CF0-8F00-6E987840CC5B}"/>
    </a:ext>
  </a:extLst>
</a:theme>
</file>

<file path=ppt/theme/theme2.xml><?xml version="1.0" encoding="utf-8"?>
<a:theme xmlns:a="http://schemas.openxmlformats.org/drawingml/2006/main" name="02 - Confidentiality Statements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33E3C587-1381-4C3A-836D-1FC2649757BE}"/>
    </a:ext>
  </a:extLst>
</a:theme>
</file>

<file path=ppt/theme/theme3.xml><?xml version="1.0" encoding="utf-8"?>
<a:theme xmlns:a="http://schemas.openxmlformats.org/drawingml/2006/main" name="03 - Section Titles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156D47CD-407B-4644-B69E-A8CC74A09EF1}"/>
    </a:ext>
  </a:extLst>
</a:theme>
</file>

<file path=ppt/theme/theme4.xml><?xml version="1.0" encoding="utf-8"?>
<a:theme xmlns:a="http://schemas.openxmlformats.org/drawingml/2006/main" name="04 - Body Slides - No Image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66F2A77B-ED35-459C-9A44-13EFCC8A8203}"/>
    </a:ext>
  </a:extLst>
</a:theme>
</file>

<file path=ppt/theme/theme5.xml><?xml version="1.0" encoding="utf-8"?>
<a:theme xmlns:a="http://schemas.openxmlformats.org/drawingml/2006/main" name="05 - Body Slides + Image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373E40A6-D290-44FC-9952-026DF14558B5}"/>
    </a:ext>
  </a:extLst>
</a:theme>
</file>

<file path=ppt/theme/theme6.xml><?xml version="1.0" encoding="utf-8"?>
<a:theme xmlns:a="http://schemas.openxmlformats.org/drawingml/2006/main" name="07 - Closing Slides">
  <a:themeElements>
    <a:clrScheme name="T-Mobile colors 2020">
      <a:dk1>
        <a:srgbClr val="3C3C3C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6A6A6A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-Mobile font TeleGroteskNext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911B2E8-6408-4676-9F4D-ECCB528A3A04}" vid="{137E8F2B-6EE4-4895-A04B-E2315B16FB63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7fe3146-0989-4592-9721-540c467698fa" xsi:nil="true"/>
    <m11e907e0cc44baaadb3e4ec52b78d5c xmlns="a7fe3146-0989-4592-9721-540c467698fa">
      <Terms xmlns="http://schemas.microsoft.com/office/infopath/2007/PartnerControls"/>
    </m11e907e0cc44baaadb3e4ec52b78d5c>
    <de1f76f3127841d3b0446efdf5532abf xmlns="a7fe3146-0989-4592-9721-540c467698fa">
      <Terms xmlns="http://schemas.microsoft.com/office/infopath/2007/PartnerControls"/>
    </de1f76f3127841d3b0446efdf5532ab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TMO Document" ma:contentTypeID="0x010100C8FEDC68C5CBFF4FAB1E98E42BEBE691009EDCF4C1CD1C8342BB0028EBA4D00F53" ma:contentTypeVersion="9" ma:contentTypeDescription="This is the document type for TMO to include the TMO Data Classification." ma:contentTypeScope="" ma:versionID="3437fb37e6386716dddc70c8fe0f23ff">
  <xsd:schema xmlns:xsd="http://www.w3.org/2001/XMLSchema" xmlns:xs="http://www.w3.org/2001/XMLSchema" xmlns:p="http://schemas.microsoft.com/office/2006/metadata/properties" xmlns:ns2="a7fe3146-0989-4592-9721-540c467698fa" targetNamespace="http://schemas.microsoft.com/office/2006/metadata/properties" ma:root="true" ma:fieldsID="3a634da62c93443e841ae96ee1c27aef" ns2:_="">
    <xsd:import namespace="a7fe3146-0989-4592-9721-540c467698fa"/>
    <xsd:element name="properties">
      <xsd:complexType>
        <xsd:sequence>
          <xsd:element name="documentManagement">
            <xsd:complexType>
              <xsd:all>
                <xsd:element ref="ns2:de1f76f3127841d3b0446efdf5532abf" minOccurs="0"/>
                <xsd:element ref="ns2:TaxCatchAll" minOccurs="0"/>
                <xsd:element ref="ns2:TaxCatchAllLabel" minOccurs="0"/>
                <xsd:element ref="ns2:m11e907e0cc44baaadb3e4ec52b78d5c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e3146-0989-4592-9721-540c467698fa" elementFormDefault="qualified">
    <xsd:import namespace="http://schemas.microsoft.com/office/2006/documentManagement/types"/>
    <xsd:import namespace="http://schemas.microsoft.com/office/infopath/2007/PartnerControls"/>
    <xsd:element name="de1f76f3127841d3b0446efdf5532abf" ma:index="8" nillable="true" ma:taxonomy="true" ma:internalName="de1f76f3127841d3b0446efdf5532abf" ma:taxonomyFieldName="Classification" ma:displayName="Classification" ma:default="" ma:fieldId="{de1f76f3-1278-41d3-b044-6efdf5532abf}" ma:sspId="8f2c06f6-5083-4159-babb-c09886256be4" ma:termSetId="fb2678ef-5c3f-4c15-87d4-3d10819b498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56d01644-b42d-4fef-872f-207e5f28df5f}" ma:internalName="TaxCatchAll" ma:showField="CatchAllData" ma:web="b44b418b-b86a-4167-aef5-b5b8c55886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6d01644-b42d-4fef-872f-207e5f28df5f}" ma:internalName="TaxCatchAllLabel" ma:readOnly="true" ma:showField="CatchAllDataLabel" ma:web="b44b418b-b86a-4167-aef5-b5b8c55886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11e907e0cc44baaadb3e4ec52b78d5c" ma:index="12" nillable="true" ma:taxonomy="true" ma:internalName="m11e907e0cc44baaadb3e4ec52b78d5c" ma:taxonomyFieldName="Organization" ma:displayName="Organization" ma:default="" ma:fieldId="{611e907e-0cc4-4baa-adb3-e4ec52b78d5c}" ma:sspId="8f2c06f6-5083-4159-babb-c09886256be4" ma:termSetId="c0582d0a-a624-4c9e-9113-d5231e294f2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8f2c06f6-5083-4159-babb-c09886256be4" ContentTypeId="0x010100C8FEDC68C5CBFF4FAB1E98E42BEBE691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EC9850-820C-4BC4-BC28-A3CA322D107A}">
  <ds:schemaRefs>
    <ds:schemaRef ds:uri="http://purl.org/dc/dcmitype/"/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a7fe3146-0989-4592-9721-540c467698fa"/>
  </ds:schemaRefs>
</ds:datastoreItem>
</file>

<file path=customXml/itemProps2.xml><?xml version="1.0" encoding="utf-8"?>
<ds:datastoreItem xmlns:ds="http://schemas.openxmlformats.org/officeDocument/2006/customXml" ds:itemID="{D8B123D1-AB65-47E5-99B2-A2DF6433B2EE}">
  <ds:schemaRefs>
    <ds:schemaRef ds:uri="a7fe3146-0989-4592-9721-540c467698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7483022-2004-4395-BCD9-05697061F5E9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B705914C-954F-4342-8594-651A6BF06A1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af72c41-31f4-4d40-a6d0-808117dc4d77}" enabled="1" method="Standard" siteId="{be0f980b-dd99-4b19-bd7b-bc71a09b026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1061</Words>
  <Application>Microsoft Office PowerPoint</Application>
  <PresentationFormat>Widescreen</PresentationFormat>
  <Paragraphs>121</Paragraphs>
  <Slides>11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1" baseType="lpstr">
      <vt:lpstr>Arial</vt:lpstr>
      <vt:lpstr>Arial Bold</vt:lpstr>
      <vt:lpstr>Calibri</vt:lpstr>
      <vt:lpstr>linea-basic-10</vt:lpstr>
      <vt:lpstr>TeleGrotesk Next</vt:lpstr>
      <vt:lpstr>TeleGrotesk Next (Body)</vt:lpstr>
      <vt:lpstr>TeleGrotesk Next Medium</vt:lpstr>
      <vt:lpstr>TeleGrotesk Next Ultra</vt:lpstr>
      <vt:lpstr>Tele-GroteskFet</vt:lpstr>
      <vt:lpstr>Tele-GroteskHal</vt:lpstr>
      <vt:lpstr>Tele-GroteskNor</vt:lpstr>
      <vt:lpstr>Tele-GroteskUlt</vt:lpstr>
      <vt:lpstr>Wingdings</vt:lpstr>
      <vt:lpstr>01 - Cover Slides</vt:lpstr>
      <vt:lpstr>02 - Confidentiality Statements</vt:lpstr>
      <vt:lpstr>03 - Section Titles</vt:lpstr>
      <vt:lpstr>04 - Body Slides - No Image</vt:lpstr>
      <vt:lpstr>05 - Body Slides + Image</vt:lpstr>
      <vt:lpstr>07 - Closing Slides</vt:lpstr>
      <vt:lpstr>think-cell Slide</vt:lpstr>
      <vt:lpstr>Coverage Above and Beyond </vt:lpstr>
      <vt:lpstr>PowerPoint Presentation</vt:lpstr>
      <vt:lpstr>PowerPoint Presentation</vt:lpstr>
      <vt:lpstr>LEO Satellites Used to Provide Coverage</vt:lpstr>
      <vt:lpstr>How can Direct to Cell Satellite Coverage help?</vt:lpstr>
      <vt:lpstr>NTN is complementary (not a mobile network replacement)</vt:lpstr>
      <vt:lpstr>Service Offering and Emergency Coverage Enablement</vt:lpstr>
      <vt:lpstr>Devices with the service will continue to grow</vt:lpstr>
      <vt:lpstr>Text to 911</vt:lpstr>
      <vt:lpstr>Text to 911 Service PSAP Readiness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/15 9:27am to 9:52 pm PST Outage  Regulatory Services National Performance</dc:title>
  <dc:creator>Jeanna.M.Green@sprint.com</dc:creator>
  <cp:lastModifiedBy>Hagerson, Eric</cp:lastModifiedBy>
  <cp:revision>5</cp:revision>
  <cp:lastPrinted>2024-05-16T23:51:21Z</cp:lastPrinted>
  <dcterms:created xsi:type="dcterms:W3CDTF">2020-06-19T20:08:41Z</dcterms:created>
  <dcterms:modified xsi:type="dcterms:W3CDTF">2025-09-22T16:0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FEDC68C5CBFF4FAB1E98E42BEBE691009EDCF4C1CD1C8342BB0028EBA4D00F53</vt:lpwstr>
  </property>
  <property fmtid="{D5CDD505-2E9C-101B-9397-08002B2CF9AE}" pid="3" name="MSIP_Label_7af72c41-31f4-4d40-a6d0-808117dc4d77_Enabled">
    <vt:lpwstr>true</vt:lpwstr>
  </property>
  <property fmtid="{D5CDD505-2E9C-101B-9397-08002B2CF9AE}" pid="4" name="MSIP_Label_7af72c41-31f4-4d40-a6d0-808117dc4d77_SetDate">
    <vt:lpwstr>2022-08-23T20:27:17Z</vt:lpwstr>
  </property>
  <property fmtid="{D5CDD505-2E9C-101B-9397-08002B2CF9AE}" pid="5" name="MSIP_Label_7af72c41-31f4-4d40-a6d0-808117dc4d77_Method">
    <vt:lpwstr>Standard</vt:lpwstr>
  </property>
  <property fmtid="{D5CDD505-2E9C-101B-9397-08002B2CF9AE}" pid="6" name="MSIP_Label_7af72c41-31f4-4d40-a6d0-808117dc4d77_Name">
    <vt:lpwstr>TMO - Internal</vt:lpwstr>
  </property>
  <property fmtid="{D5CDD505-2E9C-101B-9397-08002B2CF9AE}" pid="7" name="MSIP_Label_7af72c41-31f4-4d40-a6d0-808117dc4d77_SiteId">
    <vt:lpwstr>be0f980b-dd99-4b19-bd7b-bc71a09b026c</vt:lpwstr>
  </property>
  <property fmtid="{D5CDD505-2E9C-101B-9397-08002B2CF9AE}" pid="8" name="MSIP_Label_7af72c41-31f4-4d40-a6d0-808117dc4d77_ActionId">
    <vt:lpwstr>7c25619f-6adc-4cab-a745-8eaacb6975e8</vt:lpwstr>
  </property>
  <property fmtid="{D5CDD505-2E9C-101B-9397-08002B2CF9AE}" pid="9" name="MSIP_Label_7af72c41-31f4-4d40-a6d0-808117dc4d77_ContentBits">
    <vt:lpwstr>0</vt:lpwstr>
  </property>
  <property fmtid="{D5CDD505-2E9C-101B-9397-08002B2CF9AE}" pid="10" name="TaxKeyword">
    <vt:lpwstr/>
  </property>
  <property fmtid="{D5CDD505-2E9C-101B-9397-08002B2CF9AE}" pid="11" name="SharedWithUsers">
    <vt:lpwstr>863;#Hooker, Michael;#1365;#Shah, Mehul (NT)</vt:lpwstr>
  </property>
  <property fmtid="{D5CDD505-2E9C-101B-9397-08002B2CF9AE}" pid="12" name="TaxKeywordTaxHTField">
    <vt:lpwstr/>
  </property>
  <property fmtid="{D5CDD505-2E9C-101B-9397-08002B2CF9AE}" pid="13" name="Organization">
    <vt:lpwstr/>
  </property>
  <property fmtid="{D5CDD505-2E9C-101B-9397-08002B2CF9AE}" pid="14" name="lcf76f155ced4ddcb4097134ff3c332f">
    <vt:lpwstr/>
  </property>
  <property fmtid="{D5CDD505-2E9C-101B-9397-08002B2CF9AE}" pid="15" name="MediaServiceImageTags">
    <vt:lpwstr/>
  </property>
  <property fmtid="{D5CDD505-2E9C-101B-9397-08002B2CF9AE}" pid="16" name="Classification">
    <vt:lpwstr/>
  </property>
</Properties>
</file>